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3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6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7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8.xml" ContentType="application/vnd.openxmlformats-officedocument.theme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9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10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709" r:id="rId3"/>
    <p:sldMasterId id="2147483736" r:id="rId4"/>
    <p:sldMasterId id="2147483763" r:id="rId5"/>
    <p:sldMasterId id="2147483790" r:id="rId6"/>
    <p:sldMasterId id="2147483817" r:id="rId7"/>
    <p:sldMasterId id="2147483844" r:id="rId8"/>
    <p:sldMasterId id="2147483871" r:id="rId9"/>
    <p:sldMasterId id="2147483898" r:id="rId10"/>
    <p:sldMasterId id="2147483925" r:id="rId11"/>
  </p:sldMasterIdLst>
  <p:notesMasterIdLst>
    <p:notesMasterId r:id="rId40"/>
  </p:notesMasterIdLst>
  <p:handoutMasterIdLst>
    <p:handoutMasterId r:id="rId41"/>
  </p:handoutMasterIdLst>
  <p:sldIdLst>
    <p:sldId id="256" r:id="rId12"/>
    <p:sldId id="280" r:id="rId13"/>
    <p:sldId id="276" r:id="rId14"/>
    <p:sldId id="277" r:id="rId15"/>
    <p:sldId id="293" r:id="rId16"/>
    <p:sldId id="295" r:id="rId17"/>
    <p:sldId id="270" r:id="rId18"/>
    <p:sldId id="904" r:id="rId19"/>
    <p:sldId id="847" r:id="rId20"/>
    <p:sldId id="324" r:id="rId21"/>
    <p:sldId id="272" r:id="rId22"/>
    <p:sldId id="357" r:id="rId23"/>
    <p:sldId id="287" r:id="rId24"/>
    <p:sldId id="297" r:id="rId25"/>
    <p:sldId id="298" r:id="rId26"/>
    <p:sldId id="299" r:id="rId27"/>
    <p:sldId id="300" r:id="rId28"/>
    <p:sldId id="301" r:id="rId29"/>
    <p:sldId id="302" r:id="rId30"/>
    <p:sldId id="303" r:id="rId31"/>
    <p:sldId id="304" r:id="rId32"/>
    <p:sldId id="305" r:id="rId33"/>
    <p:sldId id="306" r:id="rId34"/>
    <p:sldId id="312" r:id="rId35"/>
    <p:sldId id="903" r:id="rId36"/>
    <p:sldId id="313" r:id="rId37"/>
    <p:sldId id="314" r:id="rId38"/>
    <p:sldId id="315" r:id="rId39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117">
          <p15:clr>
            <a:srgbClr val="A4A3A4"/>
          </p15:clr>
        </p15:guide>
        <p15:guide id="4" orient="horz" pos="981">
          <p15:clr>
            <a:srgbClr val="A4A3A4"/>
          </p15:clr>
        </p15:guide>
        <p15:guide id="5" orient="horz" pos="1344">
          <p15:clr>
            <a:srgbClr val="A4A3A4"/>
          </p15:clr>
        </p15:guide>
        <p15:guide id="6" orient="horz" pos="3793">
          <p15:clr>
            <a:srgbClr val="A4A3A4"/>
          </p15:clr>
        </p15:guide>
        <p15:guide id="7" pos="574">
          <p15:clr>
            <a:srgbClr val="A4A3A4"/>
          </p15:clr>
        </p15:guide>
        <p15:guide id="8" pos="7106">
          <p15:clr>
            <a:srgbClr val="A4A3A4"/>
          </p15:clr>
        </p15:guide>
        <p15:guide id="9" pos="619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3A3A"/>
    <a:srgbClr val="716F6E"/>
    <a:srgbClr val="6BBD46"/>
    <a:srgbClr val="0B44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6" autoAdjust="0"/>
    <p:restoredTop sz="94660"/>
  </p:normalViewPr>
  <p:slideViewPr>
    <p:cSldViewPr showGuides="1">
      <p:cViewPr varScale="1">
        <p:scale>
          <a:sx n="72" d="100"/>
          <a:sy n="72" d="100"/>
        </p:scale>
        <p:origin x="660" y="78"/>
      </p:cViewPr>
      <p:guideLst>
        <p:guide orient="horz" pos="2160"/>
        <p:guide pos="3840"/>
        <p:guide orient="horz" pos="1117"/>
        <p:guide orient="horz" pos="981"/>
        <p:guide orient="horz" pos="1344"/>
        <p:guide orient="horz" pos="3793"/>
        <p:guide pos="574"/>
        <p:guide pos="7106"/>
        <p:guide pos="619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6" d="100"/>
          <a:sy n="86" d="100"/>
        </p:scale>
        <p:origin x="-381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20" Type="http://schemas.openxmlformats.org/officeDocument/2006/relationships/slide" Target="slides/slide9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FC167-DAD6-465E-92E6-B9E79C3B8BCE}" type="datetimeFigureOut">
              <a:rPr lang="fi-FI" sz="800" smtClean="0"/>
              <a:t>2.4.2019</a:t>
            </a:fld>
            <a:endParaRPr lang="fi-FI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E64AC5-9B06-4D7E-9669-ECC570D585F3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1966990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590A613E-2D53-4ABF-9C9B-CCB36AFA1BD8}" type="datetimeFigureOut">
              <a:rPr lang="fi-FI" smtClean="0"/>
              <a:pPr/>
              <a:t>2.4.2019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2620" y="861086"/>
            <a:ext cx="5472760" cy="307842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804E9ACC-CDA4-45EE-B763-94697AB31C8B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99547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5C7D9-0E28-47EF-9F06-F08E76FA60C9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69181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2EAE41-337F-49D0-9EAE-FEB2101F4C1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76940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C7099D-89E9-4EE1-BF93-A909BC95236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6167140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240867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61CAF-7BE8-4CA0-B39E-FF15FE464650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704430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4AB10-68CC-4B65-AD9B-27E2526C21F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11324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D73F2-ACE1-41CE-A3C5-5247AEC91285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228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503838-A501-47CA-A232-6664D5303AE8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154270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25049-5E79-4754-A36C-90FC3D8DDB56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69152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F40E6-AFE4-477F-A25E-E72F784F11AF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2285682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CEF16-FB54-4ED2-86D9-AF3A8AD021ED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373300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E6579-597E-4FEA-8A56-9AC033989DEC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8725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6D17A020-0F33-4327-BBF1-F34D047677D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36843826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455063-AD60-405E-83FE-EDE5D81F36B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1089607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E9FD4-8552-464A-9E08-93FAD8AA188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331052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3B4AE-5A0A-4CA1-959C-F0A484011F7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6960344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01D8B-CBAB-4182-82E7-1CBBCBF04D4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038024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DEB03-FD21-44C7-89D8-E452A740C6F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6957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E024084-9881-48BF-B99A-378F181A450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42503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104DBD-E04A-4E80-BAE3-9C67C69EEBA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5214654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3A0C8D-B0E6-4D61-A1B0-8B719003D2D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660436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8078F92-CD9B-4E24-BB89-C6BD02B76992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220099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CAF0BE65-C79C-42B7-9457-49A49D07BE8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1661412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0F0225-B46A-42F4-9CC4-377D646FD6BF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5931940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CFDDB-5A5E-486E-B9D9-7583D4540A7D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708364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E760D-CE44-43AD-8878-0B7F3737FB0D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3831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341474-8344-4517-A438-8A51370C643E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5522627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EA922-960B-42C6-8E1E-D7EA6CA6FBB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024716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660A67-A447-43A4-B6DC-76272C8E68C9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81747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95DBAA3-5E36-443F-A73A-83101D1161B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991152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269CC91-DF08-4D22-B509-03B242C8545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701597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201CE4-CB78-435C-B3C7-EBD8AF39EBC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447336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049786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2726F-956E-4E63-9717-06918752460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30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D7FD67-376C-478A-B959-EE53BEDEA279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844908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B0F1A-72F5-4796-BD03-5DB1750E2FC6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89443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6E0A3-8E33-4905-891E-861FF7547A84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80743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2D8050-3FE3-4FC9-B1F7-E0290A402B9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535314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31D996-A625-4A41-AC49-9A0CA6D02AAF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717192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B6DE4-9EF3-4BAA-AE6C-CD89CCFD7747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951095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23091B-0B72-47EC-AA3B-E97E657DCC01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594082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D0AF0-F770-4909-BA91-D276064EB24F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80609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68239CF-5780-4418-949B-566E352E3AAC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399882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891F6-ABFB-4ACB-913E-F832FABA52F9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149438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62EAA-6B9F-4027-B768-34BEC766ED0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988161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C1342-0479-4636-93B9-F5EA29843BF5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801379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4F306-5A8C-4B3D-93EB-5590DC96A2B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464081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2D32E8-139B-46ED-9968-40F305D4B23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378285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B5C91697-DD7E-42A2-A2B2-6CE1F93BBBB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9077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2350EC-B6B5-4632-870F-149148FD281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1389708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85CA4F-D485-4739-A54D-80130080D06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0393242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9731F7-5545-4DD6-8DBC-A013330AF12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91522942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E25B8A3-342F-4998-B15A-D2792E6C767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172921158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C77F7-85F3-4D3F-BE5B-D877A5D2AD7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845582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A5FA42-D976-460B-8235-F30C380A5A93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62837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1C3B29-2826-4EB2-B480-F28A4C6D1516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840141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EF698-EB90-4D3B-9712-84E09B6E919E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32348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F7E7F-3B2E-4906-8580-5C1353C295FB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2473685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08FE1-E59F-438A-8866-1A3B386A5946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418964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41D0B750-D2AB-48BF-9CF0-0684855A7EC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7181846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526375-8FA6-4333-A331-5726AF213A40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262661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094AED-38CC-4351-8ECB-EACEFF7DA1A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15517506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4097250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00EDF-AA56-45BB-B5E5-D505EBFC8CE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86644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66B581-F1BC-48A7-97DA-67038381438C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06342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CB93D-6CE8-4F00-8D13-95112BE79C3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640376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74879-D797-437F-9C97-F6A9B444739B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4450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25009-B87A-4F5F-AF23-6D3F70ACC365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7069489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60A11B-E0ED-4C3C-B176-9671A4051CC7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612174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EEC843-69AA-42C1-BD06-6B6557614C58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094734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396FF-3EFB-4D8C-BCBB-8AB36FDF5DEC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768700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2806E-F035-41D9-9216-35D26DD120B3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387951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A58670-068A-45A6-A690-E83DA1DE9AB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6525057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F3EA8B-8369-4AAE-BAD2-E0D14ACC4FC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3626568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8C151-C87D-4037-83E1-ACEA1115CB0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47715578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92E0E-0B99-4088-96DD-319A760B603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779546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53E7D-E1EA-47A7-BEC5-9ACB33669FC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9395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48E217B-C31A-4A8A-836D-0D4A211FF7C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218263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B9F4760A-9873-4C9D-B7F6-FB188661D9F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075305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B3258A-C588-45FA-AF34-6093C71FA47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3929026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4056C7-722C-404D-A20D-48CB7797CF8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3612330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2C437D-7888-4194-BD32-67C62628F22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0885367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11C1AF4A-455D-4657-B5D4-E42DABE07C22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95552984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FBC7C5-3111-42C0-9999-2D6BAEBF7E8D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453509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96E0A9-62A7-4E81-9B89-4D51C5F425AB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57175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84FE8-CD3A-4638-B96F-C5798076EFDC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7715714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1BEF28-17BE-4293-89B9-012F05C69A6C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4031757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C57C1-4B0F-4922-91F1-D3407870B450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737376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0213297-7098-4D5D-8626-19FD765C5A5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830278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9C8948-64F7-4E5F-9020-DC9AF0A16F7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155930691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D1F8CE-44C3-47A8-B0F9-CCA05626C00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97882233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3C17F3-C1CE-4D9F-8913-7108DA922C0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1414767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5959319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A0473-9DA5-436B-8948-86822FE942C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44649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1D585-D665-49AA-B195-955CBEF69F6F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352237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CFA9C-9D8A-4A9B-9E8E-3074A3EF8C24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65152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BE7EFD-38C7-4E94-B042-0A31E457655F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59402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3BDC02-ECE2-4AD3-A0D2-A8CE67C95195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486338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A040F-4DE3-4898-9602-77524524CE0E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473708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F8D6CB-2EA3-43A5-89EC-5AB22CC4C1DC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02432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0B4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EA7F4F-4F74-4C58-8671-412AC5B82FE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117876144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D54A84-ABD3-4D71-8F5E-BAD8E87BD0D4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38910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ED8257-465C-46DE-8C42-A7A1F047EFFF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51474271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03D2B-3962-4C5D-9756-C8F05B92264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3214428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6E8AC1-C5EA-41E9-B398-ADBC3A80EFB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5144877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D50280-74F4-427E-9C13-31DED6B9F7B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811495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BA5B0-254D-4B86-B0AC-7CF884E96DC0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51197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FAB03FD-FDE7-4AEE-BC97-C598F4640C30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1562565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4E116D-8738-4036-AACC-0545D518ECD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6297522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411CA1-83DB-4DAC-8E8D-7064A43994D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7565197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95AD06-4CDF-493F-BDEF-CE87432AFCD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310749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065F2-9E4D-42ED-BB22-159F3D964463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8767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445679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5BF2D5C-1595-4292-8590-61224A0F2BB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277987381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A85E2-8F96-4062-BC19-6D30353C73FC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1713418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8E928-C271-4A8C-BEA7-D6C20F36B539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71837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14C2C-CE45-49F7-B27F-4EF863A8DDC6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79080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0664-0604-453A-A8DD-AF41CCD475F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645196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C2FF6-F47F-43F1-A01B-837BF3FD2020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76959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B854D39-8454-427C-87DD-32DCABB1CB8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9287394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0EC4BC-AEE7-4E95-A862-69687A8375E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1040672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6ABDCF-51D5-4ABF-BF09-3EE95E5AB5A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3558564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062950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4BAC0-73EE-4A64-AD51-3091728F726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15119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DCF94D-1C0E-4739-AB1A-89D4C6A7C11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559618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5396A-974A-49E1-87A2-938C17A50A3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324117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AB283-347A-4A9F-82FD-517B2F1E5755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309117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575419-7DE8-458E-8761-A1DD414C60A0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2102616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2401C4-E415-4CDC-A5D4-EBE5B0372F83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164224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2B7B8-2C74-42DD-95DE-6CB26ED20710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0220412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5B7F5-5930-4217-A1F3-43F1B7B824C2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567725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98630-4DAB-4462-9192-F9D66AD53837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64833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D27285-26BA-4F57-9B81-326AA1E63EC2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8576195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9C8F6C-FD83-48A5-902C-2C5EAB89FCB7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2105739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1838F-31A7-4216-BBF2-AF4165DB310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5921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DF48A-7807-45AA-95EB-FE19FDAA7B4D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6024181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90CDDE-0C9E-420D-9261-1631DB42865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782571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B278B-DD6D-4973-B6FD-44099301440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152375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464FA46-02ED-4F1A-92EB-812E06DA83E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9001037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3E38EA-A5E9-4698-B830-15BD8FD1E24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4211229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04A0E0-4A8E-494B-93CE-C1AF10E6609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799219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FF143E9-C0C2-40A6-A3B4-8C18F24981B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944322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E66E529-E301-4EE8-BF55-43FB4ECDB82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240102338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F9F47A-EF01-4E6D-B792-155FE6A76925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206027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52509-8F06-4428-A445-C9BC1AA4B142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78138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295DB-2986-44D7-B56B-96ADBED12A17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14591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D9A52-DD60-4B41-815F-E20470947E2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8365269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21DFD5-F973-4886-B39C-B4AA8A883251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5632764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26924F-6660-4BB3-8D18-C5E72BB3F5EE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6186084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990AE4A0-C498-4A9B-BDE4-88B1B9E749D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1528036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44A9DE-E5C5-4F11-B772-E771AD16794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9744356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A06E71-4B8A-40B8-B0FE-623F9D181E8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5" name="Round Same Side Corner Rectangle 14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6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6991437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27668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2C91B-2E52-4D8D-85F7-5CBD4FB120F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431086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61172-8CA8-4D8C-B371-DA652CEAF0D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08659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3EF7B8-F6F6-46EA-B165-EB64BE0CBA72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63230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2B312-4603-4377-BC05-6C3AAB641FF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r>
              <a:rPr lang="en-US"/>
              <a:t>Click icon to add chart</a:t>
            </a:r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075080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07537-1B14-45E4-8A96-F7D6EF5E3059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7771873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A16F43-C094-4139-A415-6E2F36BC03C3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67918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49CFDE-A172-48EE-9490-6858D7F22547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5880012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3A42D-FA92-4B58-BB21-4EEF9E1B60F0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291117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86315-D8F4-4C84-B12C-745FA35E39B1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001836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0D0A36-8257-4EAB-A6A5-202E0987EDF9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6515145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A0566-F2E7-4C25-9D7F-D47B01164533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7435246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70BE13-7D3D-496C-8687-6253AD6C01C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4145182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79E69-F962-4C9E-B934-62B17219934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389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57362-5154-48DF-8557-903AB1B2355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6736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B767F-2D65-4DAC-9D83-077A981FB96D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r>
              <a:rPr lang="en-US"/>
              <a:t>Click icon to add chart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284605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1F1B882-1952-4802-91E4-ED555C87473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559848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193C04-DFE7-4B50-8171-8647CD931BE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256265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16231D-F880-482F-8C10-70653355155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5802755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36E9C7F-6B12-491B-82BF-764F284E318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2740917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59047A66-63A0-442D-A245-83FCE4E4912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354938933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D91E0-8B80-4937-A314-9EAED923C38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354827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F2F87-90B3-4760-9B1A-6DB51B333509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634990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96A5-F0DE-47AC-B479-83808CFDD3A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302714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765C3-4885-47B6-B408-6138EC040252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3083862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20DE5-C992-4CFD-8C78-A4B64D7E26A9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46382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631AD-E324-4438-8235-D84C7F853F3B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7402782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3A6ECBA-2D0F-4A01-AC86-381400C185E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9588924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33A201-8A1B-400E-ABD8-B8DE5AF5CE9B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6491151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9A4475-502C-445A-B80D-928D7844E05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48606399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54487624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6F53F-48C0-4DAC-B68B-6CC51A5AF98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086582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361B54-2E7D-4D7C-9997-7B87BE3E85BF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512909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91528-CB7A-4631-87F4-32548BF1A755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02141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7D9FC6-AD74-40E2-A608-1EBAB30F92B8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967718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8D36E-3E07-4D21-99AA-8B4BC8D9463C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530963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189B1-12BE-49CB-8D81-1C32ADB4DE8D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0921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9D90A-CB33-415A-866C-DDE78447EE6C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6354401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0405A-02A8-450C-9E17-C3DF772A915B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414064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FEFE7-A28B-45E9-A69A-59617960BC58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92168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43C083-55CD-4BFD-99BA-0C92A2A48747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5969838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1DA56-1D40-4028-B738-C778CB33167B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7718318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0B344-EC2D-4DE4-A449-1F8876CFFCA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7" name="Round Same Side Corner Rectangle 16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8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01311551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9DCBB-9552-4815-89DC-E68CC181A40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191026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313F33-AF66-4903-A6B4-F06C7F6B4A6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205530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1B84620-3846-45CA-AAB6-1BB4CB65465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8954648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72BE10-7088-46A1-9914-104FE3321A4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0546838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C6E303-3B43-44CC-B4AF-7AB46002542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962644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25C70B-F6E1-46ED-AB48-FF81BAAAB18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032376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0DC17E-1D6D-4039-B32E-85866A25B79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881312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2420CDE8-0415-429E-8066-95011E4A043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274058706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BD8D8-A094-4495-840A-EC3FD75E944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563645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0A6E08-83F4-486A-A3F4-FCF18DD4BDA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525107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B0458-AB3C-4FA2-9948-1B826F0397A1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6242215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9A0B96-5356-4936-A199-6B2AE1C4665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6410159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7104FE-B0D3-4C64-9563-DF515E0CD3E2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494241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711F41A4-C138-4E66-9CA8-4AEC8DD2128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512156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848531-B5BC-4685-B9DF-2CF617B825A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463896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633BF9-028E-4895-916A-F951D949203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7686165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1CBD35-2AD1-4A6F-B58F-9631B4DE049F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9683355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852559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F7D65-F891-4317-A09C-637D3E0209F4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325826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ADE7B0-9505-4B9E-A4D8-BE307CD4C16C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0266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395345-7FB2-48D3-828B-6A940D452F4E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003587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757BA-7885-406C-8868-068B0BDACEF4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752476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9E183-E5D0-46B9-919B-A785303F2FD0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0461471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117B51-4D0F-4C1C-904E-6D81E8F37CA0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312062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FF8EC8-E127-4F15-AF06-F45C0CAAF1B7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513361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4C35C-D5DE-48EF-9D68-4636572702A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81018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81620-E9A0-4DDA-80D9-7A7D82A27E57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793711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3C82C-69A1-4B27-92BD-E446C3B78F66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34147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30B24-8EE9-4FF5-91B6-589D6A2B5D1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76716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0B062-DEE7-4D27-AF2D-34B51A5BF64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410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2B5AEB3-B385-4E6B-A3A2-1B26B9A073F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672376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A01DFA-DF10-4E89-B87B-971F14CF51E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0635695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575081D-5D54-4346-A320-4E7E19EA055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0265069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F8B078-432D-44E7-8532-59830D7DAA7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2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741020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8EC7D681-96DF-4989-BF4C-D6C03A894047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26163883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9E452-717E-44CF-9FA4-FE433DA1D7F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7868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CA5D6-C60B-462A-945A-1748C63912D6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56645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9253C-F79A-492C-B348-60831D3B8030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7501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219E5-FA6D-4CD1-AD2F-BBB7ADB53340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576569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0D496-FCBE-4704-9A66-DA0FB8B63158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087979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34B9E-06EE-4737-8A0E-B418AB5F5874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011221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6D1B1EF-2011-4D10-80DC-9031823DBF2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051526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7" name="Rectangle 6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338515-BB59-4B5C-8E39-003FD70000A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3" name="Round Same Side Corner Rectangle 12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4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662144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6A649-7723-48C2-810C-F3A64C9B489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3" name="Round Same Side Corner Rectangle 12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4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500427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4445655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7DB7D-F190-400C-9D19-4783DC45593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46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C003E-D023-4437-B210-E2A31F007242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1574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45818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4D7A-6781-4B94-9213-E2B2D3194E52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83753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41739-8C71-4200-A47E-2648CA6CEFCC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900375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F5BE5-986B-4508-B8B0-B93183F0CA9D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66659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F9A5C-85C1-4B9A-B1FF-B0A1EAE10EAE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7487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88799A-6238-4B44-B097-02191A6B4E03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6250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4C8AE-61E7-448E-A375-35F97C4B12FA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81011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E16C66-72F2-4A83-BD52-C39426950278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921927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5F35F-4D1E-4EEF-B242-DD03EA6DF1A1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560241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09D01-41A5-4966-B4EB-DB029FAD59F9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5978655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70ECA-7573-4D77-B8D0-71394C500E2F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27568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B5FCD-C32B-429E-AC61-DF0313605CE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31643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178BC-8912-454E-B415-A6B59AF686B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46267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641F96F-EBEA-4085-8DC9-79AABC57900C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44700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BA33B4-78CB-41B9-86FB-CC2D5E5DBA1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3791526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38D58E-079B-4503-9029-E47A279172C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205689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B8019-DF86-4BD4-85E6-485106E818D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9473942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C1D21CBA-5314-4BC6-B9C7-84F57BCED19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429333387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51E9C8-46FF-4594-B2FF-7BD77A006A33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136638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40E5EA-690C-4BCD-B440-0CFAFB2DCF2F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6708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4EF37-72D5-46CB-A16B-18229A58B04A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873863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77A684-F4B7-48CB-BE5F-47F8F9676293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1419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4064A6F7-E99E-4BB7-B6F7-60BB372CA64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727137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C2454-1630-405E-8571-DA17413F3B46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334439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4569B9BD-94DB-4023-A135-8A47976A4251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003775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74BB5-648F-43F1-9A2B-8E95E68E86E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9634111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CD5DD6-005D-4655-997B-8CCD9C80EBC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3810997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fografi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rgbClr val="3A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99D90A-CB33-415A-866C-DDE78447EE6C}" type="datetime1">
              <a:rPr lang="fi-FI" smtClean="0"/>
              <a:pPr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6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549813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av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224" y="2133600"/>
            <a:ext cx="10369551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9BE04-86FA-463E-B9C3-13F7A9EC57A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911224" y="1773237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305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1773237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2133601"/>
            <a:ext cx="51127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79B951-98AB-4D27-B26D-710C2AD12D1B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1461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lme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5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968208" y="2133601"/>
            <a:ext cx="3312567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68148-DFE0-4D93-B9A1-937A0D69173C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5"/>
          </p:nvPr>
        </p:nvSpPr>
        <p:spPr>
          <a:xfrm>
            <a:off x="4439816" y="2133601"/>
            <a:ext cx="3312368" cy="38877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911225" y="1773237"/>
            <a:ext cx="3312568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39817" y="1773237"/>
            <a:ext cx="3312368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968407" y="1773237"/>
            <a:ext cx="3312368" cy="287611"/>
          </a:xfrm>
          <a:solidFill>
            <a:schemeClr val="accent3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3044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graaf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5112767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008" y="4941168"/>
            <a:ext cx="5112767" cy="287611"/>
          </a:xfrm>
          <a:solidFill>
            <a:schemeClr val="accent1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008" y="5301207"/>
            <a:ext cx="5112767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7429C3-B5B6-41A4-B94F-98FEC1B970B1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5113338" cy="3095625"/>
          </a:xfrm>
        </p:spPr>
        <p:txBody>
          <a:bodyPr/>
          <a:lstStyle/>
          <a:p>
            <a:endParaRPr lang="fi-FI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5"/>
          </p:nvPr>
        </p:nvSpPr>
        <p:spPr>
          <a:xfrm>
            <a:off x="6168007" y="1773238"/>
            <a:ext cx="5112767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20274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af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D96FB-43D0-4382-A2C9-0067A2FE2043}" type="datetime1">
              <a:rPr lang="fi-FI" smtClean="0"/>
              <a:t>2.4.2019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911225" y="1773238"/>
            <a:ext cx="10369550" cy="3095625"/>
          </a:xfrm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3762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C7E99F-AC3C-4AE6-B458-B325F78B925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81732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FCB69-3E5B-4C81-8BE8-FC1E0D3F6BA2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28179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4ED27D-90C8-4B95-8817-F7D7866EE394}" type="datetime1">
              <a:rPr lang="fi-FI" smtClean="0"/>
              <a:t>2.4.2019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88974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u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C53E1-B0EC-46D0-9517-9A1783C334D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61356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1EC6F5-E202-439E-BA09-744011E2119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2980480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09DBB-A2C4-4F46-A112-2A36583EAE33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67041668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usivu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1225" y="1773238"/>
            <a:ext cx="10369550" cy="2375842"/>
          </a:xfrm>
        </p:spPr>
        <p:txBody>
          <a:bodyPr anchor="b"/>
          <a:lstStyle>
            <a:lvl1pPr algn="l">
              <a:lnSpc>
                <a:spcPct val="85000"/>
              </a:lnSpc>
              <a:defRPr sz="8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1225" y="4149080"/>
            <a:ext cx="10369550" cy="1224136"/>
          </a:xfrm>
        </p:spPr>
        <p:txBody>
          <a:bodyPr/>
          <a:lstStyle>
            <a:lvl1pPr marL="0" indent="0" algn="l">
              <a:buNone/>
              <a:defRPr sz="28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2F163-56F7-4B7F-A5B8-67969AD5F5DC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911225" y="5373216"/>
            <a:ext cx="10369550" cy="648172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4" name="Round Same Side Corner Rectangle 13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5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3437852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956E81-8533-414F-B750-2410C7DEE94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186938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, ala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EFC99-9BFC-4563-8D87-DD9C3ADB3C43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97244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accent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484E619-55F5-415D-BD1F-EB4B29F23C0A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328674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3FD7E8-BF0F-4EC4-839A-EC146490B485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1" name="Freeform 10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9" name="Round Same Side Corner Rectangle 8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0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181790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0F034B-58CF-4500-84C6-EB3C28C1C5E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257469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625FF5-DBFC-4355-8FEF-2A92DE7C2CF8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095051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harm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8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526476-A2F3-420E-864B-0036F037450D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0" name="Round Same Side Corner Rectangle 9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1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0598834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10369550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90000"/>
              </a:lnSpc>
              <a:defRPr lang="fi-FI" sz="7000" b="1" dirty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0DB162A5-1072-4B69-B43B-8770DD4AAA89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</p:spTree>
    <p:extLst>
      <p:ext uri="{BB962C8B-B14F-4D97-AF65-F5344CB8AC3E}">
        <p14:creationId xmlns:p14="http://schemas.microsoft.com/office/powerpoint/2010/main" val="26185918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80CB2-9F58-4F14-9E71-1182D31EE7FE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135571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8008" y="1773239"/>
            <a:ext cx="5112767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FEE72-6181-4031-B4AC-91445BBC4F5B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50543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5112768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7C47A-4F9C-4709-8194-684A64F0B65D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167438" y="1773238"/>
            <a:ext cx="5113337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026033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17495-982C-4425-8126-8A48BA7A57B4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911226" y="1773238"/>
            <a:ext cx="10369550" cy="316793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911224" y="4941168"/>
            <a:ext cx="10369551" cy="287611"/>
          </a:xfrm>
          <a:solidFill>
            <a:schemeClr val="accent2"/>
          </a:solidFill>
        </p:spPr>
        <p:txBody>
          <a:bodyPr lIns="72000" tIns="36000" rIns="72000" bIns="36000" anchor="ctr" anchorCtr="0"/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911224" y="5301207"/>
            <a:ext cx="10369551" cy="720181"/>
          </a:xfrm>
        </p:spPr>
        <p:txBody>
          <a:bodyPr/>
          <a:lstStyle>
            <a:lvl1pPr>
              <a:spcBef>
                <a:spcPts val="200"/>
              </a:spcBef>
              <a:defRPr sz="1400"/>
            </a:lvl1pPr>
            <a:lvl2pPr>
              <a:spcBef>
                <a:spcPts val="200"/>
              </a:spcBef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746389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kuva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57606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1224" y="1773239"/>
            <a:ext cx="7705056" cy="42481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42140-267C-4BC2-8D74-60A3BC70882C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‹#›</a:t>
            </a:fld>
            <a:endParaRPr lang="fi-FI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11225" y="981075"/>
            <a:ext cx="10369550" cy="575717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759825" y="1773238"/>
            <a:ext cx="2520950" cy="4248150"/>
          </a:xfr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602359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so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19063" y="115888"/>
            <a:ext cx="11953875" cy="6626225"/>
          </a:xfrm>
          <a:custGeom>
            <a:avLst/>
            <a:gdLst/>
            <a:ahLst/>
            <a:cxnLst/>
            <a:rect l="l" t="t" r="r" b="b"/>
            <a:pathLst>
              <a:path w="11953875" h="6626225">
                <a:moveTo>
                  <a:pt x="0" y="0"/>
                </a:moveTo>
                <a:lnTo>
                  <a:pt x="11953875" y="0"/>
                </a:lnTo>
                <a:lnTo>
                  <a:pt x="11953875" y="6626225"/>
                </a:lnTo>
                <a:lnTo>
                  <a:pt x="10981493" y="6626225"/>
                </a:lnTo>
                <a:lnTo>
                  <a:pt x="10981493" y="6159554"/>
                </a:lnTo>
                <a:cubicBezTo>
                  <a:pt x="10981493" y="6118611"/>
                  <a:pt x="10948302" y="6085420"/>
                  <a:pt x="10907359" y="6085420"/>
                </a:cubicBezTo>
                <a:lnTo>
                  <a:pt x="8535347" y="6085420"/>
                </a:lnTo>
                <a:cubicBezTo>
                  <a:pt x="8494404" y="6085420"/>
                  <a:pt x="8461213" y="6118611"/>
                  <a:pt x="8461213" y="6159554"/>
                </a:cubicBezTo>
                <a:lnTo>
                  <a:pt x="8461213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A1AE25B9-E6AD-4678-BBFF-4B4F26F7BDAE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1905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9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4320080" y="4943688"/>
            <a:ext cx="3551844" cy="282573"/>
          </a:xfrm>
          <a:solidFill>
            <a:schemeClr val="accent2"/>
          </a:solidFill>
        </p:spPr>
        <p:txBody>
          <a:bodyPr wrap="none" lIns="360000" tIns="18000" rIns="360000" bIns="18000" anchor="ctr" anchorCtr="0">
            <a:spAutoFit/>
          </a:bodyPr>
          <a:lstStyle>
            <a:lvl1pPr marL="0" indent="0" algn="ctr">
              <a:spcBef>
                <a:spcPts val="0"/>
              </a:spcBef>
              <a:buNone/>
              <a:defRPr sz="1600" b="1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4062809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sto kuvalla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096000" y="115888"/>
            <a:ext cx="5976938" cy="6626225"/>
          </a:xfrm>
          <a:custGeom>
            <a:avLst/>
            <a:gdLst/>
            <a:ahLst/>
            <a:cxnLst/>
            <a:rect l="l" t="t" r="r" b="b"/>
            <a:pathLst>
              <a:path w="5976938" h="6626225">
                <a:moveTo>
                  <a:pt x="0" y="0"/>
                </a:moveTo>
                <a:lnTo>
                  <a:pt x="5976938" y="0"/>
                </a:lnTo>
                <a:lnTo>
                  <a:pt x="5976938" y="6626225"/>
                </a:lnTo>
                <a:lnTo>
                  <a:pt x="5004556" y="6626225"/>
                </a:lnTo>
                <a:lnTo>
                  <a:pt x="5004556" y="6159554"/>
                </a:lnTo>
                <a:cubicBezTo>
                  <a:pt x="5004556" y="6118611"/>
                  <a:pt x="4971365" y="6085420"/>
                  <a:pt x="4930422" y="6085420"/>
                </a:cubicBezTo>
                <a:lnTo>
                  <a:pt x="2558410" y="6085420"/>
                </a:lnTo>
                <a:cubicBezTo>
                  <a:pt x="2517467" y="6085420"/>
                  <a:pt x="2484276" y="6118611"/>
                  <a:pt x="2484276" y="6159554"/>
                </a:cubicBezTo>
                <a:lnTo>
                  <a:pt x="2484276" y="6626225"/>
                </a:lnTo>
                <a:lnTo>
                  <a:pt x="0" y="662622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/>
          <a:lstStyle/>
          <a:p>
            <a:endParaRPr lang="fi-FI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19336" y="116632"/>
            <a:ext cx="5976664" cy="6624736"/>
          </a:xfrm>
          <a:prstGeom prst="rect">
            <a:avLst/>
          </a:prstGeom>
          <a:solidFill>
            <a:srgbClr val="6BBD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225" y="1772816"/>
            <a:ext cx="4536703" cy="3312368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90000"/>
              </a:lnSpc>
              <a:defRPr lang="fi-FI" sz="7000" b="1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44D218-6251-450A-8953-92C802270DC0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0" name="Text Placeholder 8"/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62800" y="259200"/>
            <a:ext cx="367200" cy="57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200" baseline="0">
                <a:noFill/>
              </a:defRPr>
            </a:lvl1pPr>
          </a:lstStyle>
          <a:p>
            <a:pPr lvl="0"/>
            <a:r>
              <a:rPr lang="fi-FI" dirty="0"/>
              <a:t>Do not add text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2" name="Round Same Side Corner Rectangle 11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049218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61.xml"/><Relationship Id="rId26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60.xml"/><Relationship Id="rId25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23" Type="http://schemas.openxmlformats.org/officeDocument/2006/relationships/slideLayout" Target="../slideLayouts/slideLayout266.xml"/><Relationship Id="rId28" Type="http://schemas.openxmlformats.org/officeDocument/2006/relationships/theme" Target="../theme/theme10.xml"/><Relationship Id="rId10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slideLayout" Target="../slideLayouts/slideLayout265.xml"/><Relationship Id="rId27" Type="http://schemas.openxmlformats.org/officeDocument/2006/relationships/slideLayout" Target="../slideLayouts/slideLayout27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13" Type="http://schemas.openxmlformats.org/officeDocument/2006/relationships/slideLayout" Target="../slideLayouts/slideLayout283.xml"/><Relationship Id="rId18" Type="http://schemas.openxmlformats.org/officeDocument/2006/relationships/slideLayout" Target="../slideLayouts/slideLayout288.xml"/><Relationship Id="rId26" Type="http://schemas.openxmlformats.org/officeDocument/2006/relationships/slideLayout" Target="../slideLayouts/slideLayout296.xml"/><Relationship Id="rId3" Type="http://schemas.openxmlformats.org/officeDocument/2006/relationships/slideLayout" Target="../slideLayouts/slideLayout273.xml"/><Relationship Id="rId21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17" Type="http://schemas.openxmlformats.org/officeDocument/2006/relationships/slideLayout" Target="../slideLayouts/slideLayout287.xml"/><Relationship Id="rId25" Type="http://schemas.openxmlformats.org/officeDocument/2006/relationships/slideLayout" Target="../slideLayouts/slideLayout295.xml"/><Relationship Id="rId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286.xml"/><Relationship Id="rId20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24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75.xml"/><Relationship Id="rId15" Type="http://schemas.openxmlformats.org/officeDocument/2006/relationships/slideLayout" Target="../slideLayouts/slideLayout285.xml"/><Relationship Id="rId23" Type="http://schemas.openxmlformats.org/officeDocument/2006/relationships/slideLayout" Target="../slideLayouts/slideLayout293.xml"/><Relationship Id="rId28" Type="http://schemas.openxmlformats.org/officeDocument/2006/relationships/theme" Target="../theme/theme11.xml"/><Relationship Id="rId10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slideLayout" Target="../slideLayouts/slideLayout284.xml"/><Relationship Id="rId22" Type="http://schemas.openxmlformats.org/officeDocument/2006/relationships/slideLayout" Target="../slideLayouts/slideLayout292.xml"/><Relationship Id="rId27" Type="http://schemas.openxmlformats.org/officeDocument/2006/relationships/slideLayout" Target="../slideLayouts/slideLayout29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65.xml"/><Relationship Id="rId21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slideLayout" Target="../slideLayouts/slideLayout18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215.xml"/><Relationship Id="rId3" Type="http://schemas.openxmlformats.org/officeDocument/2006/relationships/slideLayout" Target="../slideLayouts/slideLayout192.xml"/><Relationship Id="rId21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26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5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slideLayout" Target="../slideLayouts/slideLayout239.xml"/><Relationship Id="rId28" Type="http://schemas.openxmlformats.org/officeDocument/2006/relationships/theme" Target="../theme/theme9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Relationship Id="rId27" Type="http://schemas.openxmlformats.org/officeDocument/2006/relationships/slideLayout" Target="../slideLayouts/slideLayout2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697603B0-578D-4A37-B278-5A36B224EE3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119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49" r:id="rId2"/>
    <p:sldLayoutId id="2147483665" r:id="rId3"/>
    <p:sldLayoutId id="2147483678" r:id="rId4"/>
    <p:sldLayoutId id="2147483650" r:id="rId5"/>
    <p:sldLayoutId id="2147483661" r:id="rId6"/>
    <p:sldLayoutId id="2147483668" r:id="rId7"/>
    <p:sldLayoutId id="2147483664" r:id="rId8"/>
    <p:sldLayoutId id="2147483667" r:id="rId9"/>
    <p:sldLayoutId id="2147483679" r:id="rId10"/>
    <p:sldLayoutId id="2147483676" r:id="rId11"/>
    <p:sldLayoutId id="2147483652" r:id="rId12"/>
    <p:sldLayoutId id="2147483662" r:id="rId13"/>
    <p:sldLayoutId id="2147483672" r:id="rId14"/>
    <p:sldLayoutId id="2147483674" r:id="rId15"/>
    <p:sldLayoutId id="2147483673" r:id="rId16"/>
    <p:sldLayoutId id="2147483677" r:id="rId17"/>
    <p:sldLayoutId id="2147483680" r:id="rId18"/>
    <p:sldLayoutId id="2147483681" r:id="rId19"/>
    <p:sldLayoutId id="2147483952" r:id="rId20"/>
    <p:sldLayoutId id="2147483669" r:id="rId21"/>
    <p:sldLayoutId id="2147483653" r:id="rId22"/>
    <p:sldLayoutId id="2147483663" r:id="rId23"/>
    <p:sldLayoutId id="2147483670" r:id="rId24"/>
    <p:sldLayoutId id="2147483671" r:id="rId25"/>
    <p:sldLayoutId id="2147483654" r:id="rId26"/>
    <p:sldLayoutId id="2147483655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A607050F-EDA0-4EFA-B152-35C0ED5494F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28" name="Freeform 24"/>
            <p:cNvSpPr>
              <a:spLocks noEditPoints="1"/>
            </p:cNvSpPr>
            <p:nvPr userDrawn="1"/>
          </p:nvSpPr>
          <p:spPr bwMode="auto">
            <a:xfrm>
              <a:off x="9011200" y="6428428"/>
              <a:ext cx="1668858" cy="290400"/>
            </a:xfrm>
            <a:custGeom>
              <a:avLst/>
              <a:gdLst>
                <a:gd name="T0" fmla="*/ 1770 w 1770"/>
                <a:gd name="T1" fmla="*/ 305 h 308"/>
                <a:gd name="T2" fmla="*/ 1629 w 1770"/>
                <a:gd name="T3" fmla="*/ 305 h 308"/>
                <a:gd name="T4" fmla="*/ 1524 w 1770"/>
                <a:gd name="T5" fmla="*/ 164 h 308"/>
                <a:gd name="T6" fmla="*/ 1557 w 1770"/>
                <a:gd name="T7" fmla="*/ 158 h 308"/>
                <a:gd name="T8" fmla="*/ 1563 w 1770"/>
                <a:gd name="T9" fmla="*/ 111 h 308"/>
                <a:gd name="T10" fmla="*/ 1559 w 1770"/>
                <a:gd name="T11" fmla="*/ 91 h 308"/>
                <a:gd name="T12" fmla="*/ 1524 w 1770"/>
                <a:gd name="T13" fmla="*/ 86 h 308"/>
                <a:gd name="T14" fmla="*/ 1564 w 1770"/>
                <a:gd name="T15" fmla="*/ 273 h 308"/>
                <a:gd name="T16" fmla="*/ 1558 w 1770"/>
                <a:gd name="T17" fmla="*/ 207 h 308"/>
                <a:gd name="T18" fmla="*/ 1538 w 1770"/>
                <a:gd name="T19" fmla="*/ 200 h 308"/>
                <a:gd name="T20" fmla="*/ 1544 w 1770"/>
                <a:gd name="T21" fmla="*/ 49 h 308"/>
                <a:gd name="T22" fmla="*/ 1577 w 1770"/>
                <a:gd name="T23" fmla="*/ 54 h 308"/>
                <a:gd name="T24" fmla="*/ 1596 w 1770"/>
                <a:gd name="T25" fmla="*/ 72 h 308"/>
                <a:gd name="T26" fmla="*/ 1604 w 1770"/>
                <a:gd name="T27" fmla="*/ 100 h 308"/>
                <a:gd name="T28" fmla="*/ 1600 w 1770"/>
                <a:gd name="T29" fmla="*/ 153 h 308"/>
                <a:gd name="T30" fmla="*/ 1578 w 1770"/>
                <a:gd name="T31" fmla="*/ 180 h 308"/>
                <a:gd name="T32" fmla="*/ 1593 w 1770"/>
                <a:gd name="T33" fmla="*/ 190 h 308"/>
                <a:gd name="T34" fmla="*/ 1604 w 1770"/>
                <a:gd name="T35" fmla="*/ 224 h 308"/>
                <a:gd name="T36" fmla="*/ 1607 w 1770"/>
                <a:gd name="T37" fmla="*/ 297 h 308"/>
                <a:gd name="T38" fmla="*/ 1384 w 1770"/>
                <a:gd name="T39" fmla="*/ 94 h 308"/>
                <a:gd name="T40" fmla="*/ 1359 w 1770"/>
                <a:gd name="T41" fmla="*/ 258 h 308"/>
                <a:gd name="T42" fmla="*/ 1456 w 1770"/>
                <a:gd name="T43" fmla="*/ 305 h 308"/>
                <a:gd name="T44" fmla="*/ 1208 w 1770"/>
                <a:gd name="T45" fmla="*/ 305 h 308"/>
                <a:gd name="T46" fmla="*/ 1108 w 1770"/>
                <a:gd name="T47" fmla="*/ 223 h 308"/>
                <a:gd name="T48" fmla="*/ 1113 w 1770"/>
                <a:gd name="T49" fmla="*/ 258 h 308"/>
                <a:gd name="T50" fmla="*/ 1119 w 1770"/>
                <a:gd name="T51" fmla="*/ 49 h 308"/>
                <a:gd name="T52" fmla="*/ 975 w 1770"/>
                <a:gd name="T53" fmla="*/ 86 h 308"/>
                <a:gd name="T54" fmla="*/ 893 w 1770"/>
                <a:gd name="T55" fmla="*/ 49 h 308"/>
                <a:gd name="T56" fmla="*/ 854 w 1770"/>
                <a:gd name="T57" fmla="*/ 0 h 308"/>
                <a:gd name="T58" fmla="*/ 791 w 1770"/>
                <a:gd name="T59" fmla="*/ 261 h 308"/>
                <a:gd name="T60" fmla="*/ 809 w 1770"/>
                <a:gd name="T61" fmla="*/ 271 h 308"/>
                <a:gd name="T62" fmla="*/ 826 w 1770"/>
                <a:gd name="T63" fmla="*/ 261 h 308"/>
                <a:gd name="T64" fmla="*/ 829 w 1770"/>
                <a:gd name="T65" fmla="*/ 102 h 308"/>
                <a:gd name="T66" fmla="*/ 821 w 1770"/>
                <a:gd name="T67" fmla="*/ 86 h 308"/>
                <a:gd name="T68" fmla="*/ 800 w 1770"/>
                <a:gd name="T69" fmla="*/ 84 h 308"/>
                <a:gd name="T70" fmla="*/ 788 w 1770"/>
                <a:gd name="T71" fmla="*/ 102 h 308"/>
                <a:gd name="T72" fmla="*/ 764 w 1770"/>
                <a:gd name="T73" fmla="*/ 35 h 308"/>
                <a:gd name="T74" fmla="*/ 749 w 1770"/>
                <a:gd name="T75" fmla="*/ 95 h 308"/>
                <a:gd name="T76" fmla="*/ 760 w 1770"/>
                <a:gd name="T77" fmla="*/ 67 h 308"/>
                <a:gd name="T78" fmla="*/ 783 w 1770"/>
                <a:gd name="T79" fmla="*/ 50 h 308"/>
                <a:gd name="T80" fmla="*/ 816 w 1770"/>
                <a:gd name="T81" fmla="*/ 45 h 308"/>
                <a:gd name="T82" fmla="*/ 845 w 1770"/>
                <a:gd name="T83" fmla="*/ 55 h 308"/>
                <a:gd name="T84" fmla="*/ 863 w 1770"/>
                <a:gd name="T85" fmla="*/ 77 h 308"/>
                <a:gd name="T86" fmla="*/ 870 w 1770"/>
                <a:gd name="T87" fmla="*/ 110 h 308"/>
                <a:gd name="T88" fmla="*/ 867 w 1770"/>
                <a:gd name="T89" fmla="*/ 271 h 308"/>
                <a:gd name="T90" fmla="*/ 851 w 1770"/>
                <a:gd name="T91" fmla="*/ 294 h 308"/>
                <a:gd name="T92" fmla="*/ 823 w 1770"/>
                <a:gd name="T93" fmla="*/ 307 h 308"/>
                <a:gd name="T94" fmla="*/ 788 w 1770"/>
                <a:gd name="T95" fmla="*/ 305 h 308"/>
                <a:gd name="T96" fmla="*/ 764 w 1770"/>
                <a:gd name="T97" fmla="*/ 291 h 308"/>
                <a:gd name="T98" fmla="*/ 750 w 1770"/>
                <a:gd name="T99" fmla="*/ 264 h 308"/>
                <a:gd name="T100" fmla="*/ 600 w 1770"/>
                <a:gd name="T101" fmla="*/ 49 h 308"/>
                <a:gd name="T102" fmla="*/ 642 w 1770"/>
                <a:gd name="T103" fmla="*/ 305 h 308"/>
                <a:gd name="T104" fmla="*/ 585 w 1770"/>
                <a:gd name="T105" fmla="*/ 49 h 308"/>
                <a:gd name="T106" fmla="*/ 503 w 1770"/>
                <a:gd name="T107" fmla="*/ 86 h 308"/>
                <a:gd name="T108" fmla="*/ 348 w 1770"/>
                <a:gd name="T109" fmla="*/ 49 h 308"/>
                <a:gd name="T110" fmla="*/ 397 w 1770"/>
                <a:gd name="T111" fmla="*/ 305 h 308"/>
                <a:gd name="T112" fmla="*/ 231 w 1770"/>
                <a:gd name="T113" fmla="*/ 35 h 308"/>
                <a:gd name="T114" fmla="*/ 219 w 1770"/>
                <a:gd name="T115" fmla="*/ 94 h 308"/>
                <a:gd name="T116" fmla="*/ 175 w 1770"/>
                <a:gd name="T117" fmla="*/ 0 h 308"/>
                <a:gd name="T118" fmla="*/ 194 w 1770"/>
                <a:gd name="T119" fmla="*/ 258 h 308"/>
                <a:gd name="T120" fmla="*/ 291 w 1770"/>
                <a:gd name="T121" fmla="*/ 305 h 308"/>
                <a:gd name="T122" fmla="*/ 0 w 1770"/>
                <a:gd name="T123" fmla="*/ 49 h 308"/>
                <a:gd name="T124" fmla="*/ 78 w 1770"/>
                <a:gd name="T125" fmla="*/ 16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0" h="308">
                  <a:moveTo>
                    <a:pt x="1679" y="223"/>
                  </a:moveTo>
                  <a:lnTo>
                    <a:pt x="1717" y="223"/>
                  </a:lnTo>
                  <a:lnTo>
                    <a:pt x="1698" y="94"/>
                  </a:lnTo>
                  <a:lnTo>
                    <a:pt x="1679" y="223"/>
                  </a:lnTo>
                  <a:close/>
                  <a:moveTo>
                    <a:pt x="1770" y="305"/>
                  </a:moveTo>
                  <a:lnTo>
                    <a:pt x="1729" y="305"/>
                  </a:lnTo>
                  <a:lnTo>
                    <a:pt x="1722" y="258"/>
                  </a:lnTo>
                  <a:lnTo>
                    <a:pt x="1673" y="258"/>
                  </a:lnTo>
                  <a:lnTo>
                    <a:pt x="1666" y="305"/>
                  </a:lnTo>
                  <a:lnTo>
                    <a:pt x="1629" y="305"/>
                  </a:lnTo>
                  <a:lnTo>
                    <a:pt x="1670" y="49"/>
                  </a:lnTo>
                  <a:lnTo>
                    <a:pt x="1729" y="49"/>
                  </a:lnTo>
                  <a:lnTo>
                    <a:pt x="1770" y="305"/>
                  </a:lnTo>
                  <a:close/>
                  <a:moveTo>
                    <a:pt x="1524" y="86"/>
                  </a:moveTo>
                  <a:lnTo>
                    <a:pt x="1524" y="164"/>
                  </a:lnTo>
                  <a:lnTo>
                    <a:pt x="1540" y="164"/>
                  </a:lnTo>
                  <a:lnTo>
                    <a:pt x="1545" y="163"/>
                  </a:lnTo>
                  <a:lnTo>
                    <a:pt x="1550" y="163"/>
                  </a:lnTo>
                  <a:lnTo>
                    <a:pt x="1554" y="161"/>
                  </a:lnTo>
                  <a:lnTo>
                    <a:pt x="1557" y="158"/>
                  </a:lnTo>
                  <a:lnTo>
                    <a:pt x="1560" y="154"/>
                  </a:lnTo>
                  <a:lnTo>
                    <a:pt x="1562" y="149"/>
                  </a:lnTo>
                  <a:lnTo>
                    <a:pt x="1563" y="144"/>
                  </a:lnTo>
                  <a:lnTo>
                    <a:pt x="1563" y="136"/>
                  </a:lnTo>
                  <a:lnTo>
                    <a:pt x="1563" y="111"/>
                  </a:lnTo>
                  <a:lnTo>
                    <a:pt x="1563" y="105"/>
                  </a:lnTo>
                  <a:lnTo>
                    <a:pt x="1562" y="99"/>
                  </a:lnTo>
                  <a:lnTo>
                    <a:pt x="1562" y="97"/>
                  </a:lnTo>
                  <a:lnTo>
                    <a:pt x="1561" y="95"/>
                  </a:lnTo>
                  <a:lnTo>
                    <a:pt x="1559" y="91"/>
                  </a:lnTo>
                  <a:lnTo>
                    <a:pt x="1556" y="89"/>
                  </a:lnTo>
                  <a:lnTo>
                    <a:pt x="1553" y="87"/>
                  </a:lnTo>
                  <a:lnTo>
                    <a:pt x="1549" y="86"/>
                  </a:lnTo>
                  <a:lnTo>
                    <a:pt x="1543" y="86"/>
                  </a:lnTo>
                  <a:lnTo>
                    <a:pt x="1524" y="86"/>
                  </a:lnTo>
                  <a:close/>
                  <a:moveTo>
                    <a:pt x="1568" y="305"/>
                  </a:moveTo>
                  <a:lnTo>
                    <a:pt x="1567" y="299"/>
                  </a:lnTo>
                  <a:lnTo>
                    <a:pt x="1566" y="294"/>
                  </a:lnTo>
                  <a:lnTo>
                    <a:pt x="1564" y="286"/>
                  </a:lnTo>
                  <a:lnTo>
                    <a:pt x="1564" y="273"/>
                  </a:lnTo>
                  <a:lnTo>
                    <a:pt x="1564" y="233"/>
                  </a:lnTo>
                  <a:lnTo>
                    <a:pt x="1563" y="224"/>
                  </a:lnTo>
                  <a:lnTo>
                    <a:pt x="1562" y="218"/>
                  </a:lnTo>
                  <a:lnTo>
                    <a:pt x="1560" y="212"/>
                  </a:lnTo>
                  <a:lnTo>
                    <a:pt x="1558" y="207"/>
                  </a:lnTo>
                  <a:lnTo>
                    <a:pt x="1554" y="204"/>
                  </a:lnTo>
                  <a:lnTo>
                    <a:pt x="1552" y="203"/>
                  </a:lnTo>
                  <a:lnTo>
                    <a:pt x="1550" y="202"/>
                  </a:lnTo>
                  <a:lnTo>
                    <a:pt x="1544" y="201"/>
                  </a:lnTo>
                  <a:lnTo>
                    <a:pt x="1538" y="200"/>
                  </a:lnTo>
                  <a:lnTo>
                    <a:pt x="1524" y="200"/>
                  </a:lnTo>
                  <a:lnTo>
                    <a:pt x="1524" y="305"/>
                  </a:lnTo>
                  <a:lnTo>
                    <a:pt x="1484" y="305"/>
                  </a:lnTo>
                  <a:lnTo>
                    <a:pt x="1484" y="49"/>
                  </a:lnTo>
                  <a:lnTo>
                    <a:pt x="1544" y="49"/>
                  </a:lnTo>
                  <a:lnTo>
                    <a:pt x="1552" y="49"/>
                  </a:lnTo>
                  <a:lnTo>
                    <a:pt x="1559" y="50"/>
                  </a:lnTo>
                  <a:lnTo>
                    <a:pt x="1566" y="51"/>
                  </a:lnTo>
                  <a:lnTo>
                    <a:pt x="1572" y="52"/>
                  </a:lnTo>
                  <a:lnTo>
                    <a:pt x="1577" y="54"/>
                  </a:lnTo>
                  <a:lnTo>
                    <a:pt x="1581" y="57"/>
                  </a:lnTo>
                  <a:lnTo>
                    <a:pt x="1586" y="60"/>
                  </a:lnTo>
                  <a:lnTo>
                    <a:pt x="1590" y="63"/>
                  </a:lnTo>
                  <a:lnTo>
                    <a:pt x="1593" y="67"/>
                  </a:lnTo>
                  <a:lnTo>
                    <a:pt x="1596" y="72"/>
                  </a:lnTo>
                  <a:lnTo>
                    <a:pt x="1598" y="76"/>
                  </a:lnTo>
                  <a:lnTo>
                    <a:pt x="1600" y="81"/>
                  </a:lnTo>
                  <a:lnTo>
                    <a:pt x="1603" y="88"/>
                  </a:lnTo>
                  <a:lnTo>
                    <a:pt x="1604" y="93"/>
                  </a:lnTo>
                  <a:lnTo>
                    <a:pt x="1604" y="100"/>
                  </a:lnTo>
                  <a:lnTo>
                    <a:pt x="1604" y="108"/>
                  </a:lnTo>
                  <a:lnTo>
                    <a:pt x="1604" y="128"/>
                  </a:lnTo>
                  <a:lnTo>
                    <a:pt x="1604" y="137"/>
                  </a:lnTo>
                  <a:lnTo>
                    <a:pt x="1603" y="146"/>
                  </a:lnTo>
                  <a:lnTo>
                    <a:pt x="1600" y="153"/>
                  </a:lnTo>
                  <a:lnTo>
                    <a:pt x="1597" y="160"/>
                  </a:lnTo>
                  <a:lnTo>
                    <a:pt x="1594" y="166"/>
                  </a:lnTo>
                  <a:lnTo>
                    <a:pt x="1590" y="171"/>
                  </a:lnTo>
                  <a:lnTo>
                    <a:pt x="1584" y="176"/>
                  </a:lnTo>
                  <a:lnTo>
                    <a:pt x="1578" y="180"/>
                  </a:lnTo>
                  <a:lnTo>
                    <a:pt x="1581" y="181"/>
                  </a:lnTo>
                  <a:lnTo>
                    <a:pt x="1585" y="183"/>
                  </a:lnTo>
                  <a:lnTo>
                    <a:pt x="1588" y="185"/>
                  </a:lnTo>
                  <a:lnTo>
                    <a:pt x="1590" y="187"/>
                  </a:lnTo>
                  <a:lnTo>
                    <a:pt x="1593" y="190"/>
                  </a:lnTo>
                  <a:lnTo>
                    <a:pt x="1595" y="194"/>
                  </a:lnTo>
                  <a:lnTo>
                    <a:pt x="1598" y="200"/>
                  </a:lnTo>
                  <a:lnTo>
                    <a:pt x="1601" y="207"/>
                  </a:lnTo>
                  <a:lnTo>
                    <a:pt x="1603" y="216"/>
                  </a:lnTo>
                  <a:lnTo>
                    <a:pt x="1604" y="224"/>
                  </a:lnTo>
                  <a:lnTo>
                    <a:pt x="1605" y="234"/>
                  </a:lnTo>
                  <a:lnTo>
                    <a:pt x="1605" y="273"/>
                  </a:lnTo>
                  <a:lnTo>
                    <a:pt x="1605" y="282"/>
                  </a:lnTo>
                  <a:lnTo>
                    <a:pt x="1605" y="290"/>
                  </a:lnTo>
                  <a:lnTo>
                    <a:pt x="1607" y="297"/>
                  </a:lnTo>
                  <a:lnTo>
                    <a:pt x="1609" y="305"/>
                  </a:lnTo>
                  <a:lnTo>
                    <a:pt x="1568" y="305"/>
                  </a:lnTo>
                  <a:close/>
                  <a:moveTo>
                    <a:pt x="1365" y="223"/>
                  </a:moveTo>
                  <a:lnTo>
                    <a:pt x="1403" y="223"/>
                  </a:lnTo>
                  <a:lnTo>
                    <a:pt x="1384" y="94"/>
                  </a:lnTo>
                  <a:lnTo>
                    <a:pt x="1365" y="223"/>
                  </a:lnTo>
                  <a:close/>
                  <a:moveTo>
                    <a:pt x="1456" y="305"/>
                  </a:moveTo>
                  <a:lnTo>
                    <a:pt x="1415" y="305"/>
                  </a:lnTo>
                  <a:lnTo>
                    <a:pt x="1409" y="258"/>
                  </a:lnTo>
                  <a:lnTo>
                    <a:pt x="1359" y="258"/>
                  </a:lnTo>
                  <a:lnTo>
                    <a:pt x="1352" y="305"/>
                  </a:lnTo>
                  <a:lnTo>
                    <a:pt x="1315" y="305"/>
                  </a:lnTo>
                  <a:lnTo>
                    <a:pt x="1356" y="49"/>
                  </a:lnTo>
                  <a:lnTo>
                    <a:pt x="1415" y="49"/>
                  </a:lnTo>
                  <a:lnTo>
                    <a:pt x="1456" y="305"/>
                  </a:lnTo>
                  <a:close/>
                  <a:moveTo>
                    <a:pt x="1240" y="257"/>
                  </a:moveTo>
                  <a:lnTo>
                    <a:pt x="1270" y="49"/>
                  </a:lnTo>
                  <a:lnTo>
                    <a:pt x="1307" y="49"/>
                  </a:lnTo>
                  <a:lnTo>
                    <a:pt x="1268" y="305"/>
                  </a:lnTo>
                  <a:lnTo>
                    <a:pt x="1208" y="305"/>
                  </a:lnTo>
                  <a:lnTo>
                    <a:pt x="1169" y="49"/>
                  </a:lnTo>
                  <a:lnTo>
                    <a:pt x="1209" y="49"/>
                  </a:lnTo>
                  <a:lnTo>
                    <a:pt x="1240" y="257"/>
                  </a:lnTo>
                  <a:close/>
                  <a:moveTo>
                    <a:pt x="1068" y="223"/>
                  </a:moveTo>
                  <a:lnTo>
                    <a:pt x="1108" y="223"/>
                  </a:lnTo>
                  <a:lnTo>
                    <a:pt x="1089" y="94"/>
                  </a:lnTo>
                  <a:lnTo>
                    <a:pt x="1068" y="223"/>
                  </a:lnTo>
                  <a:close/>
                  <a:moveTo>
                    <a:pt x="1160" y="305"/>
                  </a:moveTo>
                  <a:lnTo>
                    <a:pt x="1120" y="305"/>
                  </a:lnTo>
                  <a:lnTo>
                    <a:pt x="1113" y="258"/>
                  </a:lnTo>
                  <a:lnTo>
                    <a:pt x="1063" y="258"/>
                  </a:lnTo>
                  <a:lnTo>
                    <a:pt x="1057" y="305"/>
                  </a:lnTo>
                  <a:lnTo>
                    <a:pt x="1020" y="305"/>
                  </a:lnTo>
                  <a:lnTo>
                    <a:pt x="1061" y="49"/>
                  </a:lnTo>
                  <a:lnTo>
                    <a:pt x="1119" y="49"/>
                  </a:lnTo>
                  <a:lnTo>
                    <a:pt x="1160" y="305"/>
                  </a:lnTo>
                  <a:close/>
                  <a:moveTo>
                    <a:pt x="893" y="49"/>
                  </a:moveTo>
                  <a:lnTo>
                    <a:pt x="1018" y="49"/>
                  </a:lnTo>
                  <a:lnTo>
                    <a:pt x="1018" y="86"/>
                  </a:lnTo>
                  <a:lnTo>
                    <a:pt x="975" y="86"/>
                  </a:lnTo>
                  <a:lnTo>
                    <a:pt x="975" y="305"/>
                  </a:lnTo>
                  <a:lnTo>
                    <a:pt x="935" y="305"/>
                  </a:lnTo>
                  <a:lnTo>
                    <a:pt x="935" y="86"/>
                  </a:lnTo>
                  <a:lnTo>
                    <a:pt x="893" y="86"/>
                  </a:lnTo>
                  <a:lnTo>
                    <a:pt x="893" y="49"/>
                  </a:lnTo>
                  <a:close/>
                  <a:moveTo>
                    <a:pt x="854" y="0"/>
                  </a:moveTo>
                  <a:lnTo>
                    <a:pt x="854" y="35"/>
                  </a:lnTo>
                  <a:lnTo>
                    <a:pt x="819" y="35"/>
                  </a:lnTo>
                  <a:lnTo>
                    <a:pt x="819" y="0"/>
                  </a:lnTo>
                  <a:lnTo>
                    <a:pt x="854" y="0"/>
                  </a:lnTo>
                  <a:close/>
                  <a:moveTo>
                    <a:pt x="788" y="245"/>
                  </a:moveTo>
                  <a:lnTo>
                    <a:pt x="788" y="252"/>
                  </a:lnTo>
                  <a:lnTo>
                    <a:pt x="789" y="257"/>
                  </a:lnTo>
                  <a:lnTo>
                    <a:pt x="790" y="259"/>
                  </a:lnTo>
                  <a:lnTo>
                    <a:pt x="791" y="261"/>
                  </a:lnTo>
                  <a:lnTo>
                    <a:pt x="794" y="265"/>
                  </a:lnTo>
                  <a:lnTo>
                    <a:pt x="797" y="268"/>
                  </a:lnTo>
                  <a:lnTo>
                    <a:pt x="800" y="270"/>
                  </a:lnTo>
                  <a:lnTo>
                    <a:pt x="804" y="271"/>
                  </a:lnTo>
                  <a:lnTo>
                    <a:pt x="809" y="271"/>
                  </a:lnTo>
                  <a:lnTo>
                    <a:pt x="814" y="271"/>
                  </a:lnTo>
                  <a:lnTo>
                    <a:pt x="818" y="270"/>
                  </a:lnTo>
                  <a:lnTo>
                    <a:pt x="821" y="268"/>
                  </a:lnTo>
                  <a:lnTo>
                    <a:pt x="824" y="265"/>
                  </a:lnTo>
                  <a:lnTo>
                    <a:pt x="826" y="261"/>
                  </a:lnTo>
                  <a:lnTo>
                    <a:pt x="828" y="257"/>
                  </a:lnTo>
                  <a:lnTo>
                    <a:pt x="829" y="252"/>
                  </a:lnTo>
                  <a:lnTo>
                    <a:pt x="829" y="245"/>
                  </a:lnTo>
                  <a:lnTo>
                    <a:pt x="829" y="108"/>
                  </a:lnTo>
                  <a:lnTo>
                    <a:pt x="829" y="102"/>
                  </a:lnTo>
                  <a:lnTo>
                    <a:pt x="828" y="96"/>
                  </a:lnTo>
                  <a:lnTo>
                    <a:pt x="827" y="93"/>
                  </a:lnTo>
                  <a:lnTo>
                    <a:pt x="826" y="91"/>
                  </a:lnTo>
                  <a:lnTo>
                    <a:pt x="824" y="88"/>
                  </a:lnTo>
                  <a:lnTo>
                    <a:pt x="821" y="86"/>
                  </a:lnTo>
                  <a:lnTo>
                    <a:pt x="818" y="84"/>
                  </a:lnTo>
                  <a:lnTo>
                    <a:pt x="814" y="82"/>
                  </a:lnTo>
                  <a:lnTo>
                    <a:pt x="809" y="82"/>
                  </a:lnTo>
                  <a:lnTo>
                    <a:pt x="804" y="82"/>
                  </a:lnTo>
                  <a:lnTo>
                    <a:pt x="800" y="84"/>
                  </a:lnTo>
                  <a:lnTo>
                    <a:pt x="797" y="86"/>
                  </a:lnTo>
                  <a:lnTo>
                    <a:pt x="794" y="88"/>
                  </a:lnTo>
                  <a:lnTo>
                    <a:pt x="791" y="91"/>
                  </a:lnTo>
                  <a:lnTo>
                    <a:pt x="789" y="96"/>
                  </a:lnTo>
                  <a:lnTo>
                    <a:pt x="788" y="102"/>
                  </a:lnTo>
                  <a:lnTo>
                    <a:pt x="788" y="108"/>
                  </a:lnTo>
                  <a:lnTo>
                    <a:pt x="788" y="245"/>
                  </a:lnTo>
                  <a:close/>
                  <a:moveTo>
                    <a:pt x="799" y="0"/>
                  </a:moveTo>
                  <a:lnTo>
                    <a:pt x="799" y="35"/>
                  </a:lnTo>
                  <a:lnTo>
                    <a:pt x="764" y="35"/>
                  </a:lnTo>
                  <a:lnTo>
                    <a:pt x="764" y="0"/>
                  </a:lnTo>
                  <a:lnTo>
                    <a:pt x="799" y="0"/>
                  </a:lnTo>
                  <a:close/>
                  <a:moveTo>
                    <a:pt x="748" y="110"/>
                  </a:moveTo>
                  <a:lnTo>
                    <a:pt x="748" y="103"/>
                  </a:lnTo>
                  <a:lnTo>
                    <a:pt x="749" y="95"/>
                  </a:lnTo>
                  <a:lnTo>
                    <a:pt x="750" y="89"/>
                  </a:lnTo>
                  <a:lnTo>
                    <a:pt x="752" y="82"/>
                  </a:lnTo>
                  <a:lnTo>
                    <a:pt x="754" y="77"/>
                  </a:lnTo>
                  <a:lnTo>
                    <a:pt x="757" y="72"/>
                  </a:lnTo>
                  <a:lnTo>
                    <a:pt x="760" y="67"/>
                  </a:lnTo>
                  <a:lnTo>
                    <a:pt x="764" y="62"/>
                  </a:lnTo>
                  <a:lnTo>
                    <a:pt x="768" y="58"/>
                  </a:lnTo>
                  <a:lnTo>
                    <a:pt x="772" y="55"/>
                  </a:lnTo>
                  <a:lnTo>
                    <a:pt x="778" y="53"/>
                  </a:lnTo>
                  <a:lnTo>
                    <a:pt x="783" y="50"/>
                  </a:lnTo>
                  <a:lnTo>
                    <a:pt x="788" y="48"/>
                  </a:lnTo>
                  <a:lnTo>
                    <a:pt x="795" y="47"/>
                  </a:lnTo>
                  <a:lnTo>
                    <a:pt x="802" y="45"/>
                  </a:lnTo>
                  <a:lnTo>
                    <a:pt x="809" y="45"/>
                  </a:lnTo>
                  <a:lnTo>
                    <a:pt x="816" y="45"/>
                  </a:lnTo>
                  <a:lnTo>
                    <a:pt x="823" y="47"/>
                  </a:lnTo>
                  <a:lnTo>
                    <a:pt x="829" y="48"/>
                  </a:lnTo>
                  <a:lnTo>
                    <a:pt x="835" y="50"/>
                  </a:lnTo>
                  <a:lnTo>
                    <a:pt x="840" y="53"/>
                  </a:lnTo>
                  <a:lnTo>
                    <a:pt x="845" y="55"/>
                  </a:lnTo>
                  <a:lnTo>
                    <a:pt x="851" y="58"/>
                  </a:lnTo>
                  <a:lnTo>
                    <a:pt x="854" y="62"/>
                  </a:lnTo>
                  <a:lnTo>
                    <a:pt x="858" y="67"/>
                  </a:lnTo>
                  <a:lnTo>
                    <a:pt x="861" y="72"/>
                  </a:lnTo>
                  <a:lnTo>
                    <a:pt x="863" y="77"/>
                  </a:lnTo>
                  <a:lnTo>
                    <a:pt x="867" y="82"/>
                  </a:lnTo>
                  <a:lnTo>
                    <a:pt x="868" y="89"/>
                  </a:lnTo>
                  <a:lnTo>
                    <a:pt x="869" y="95"/>
                  </a:lnTo>
                  <a:lnTo>
                    <a:pt x="870" y="103"/>
                  </a:lnTo>
                  <a:lnTo>
                    <a:pt x="870" y="110"/>
                  </a:lnTo>
                  <a:lnTo>
                    <a:pt x="870" y="243"/>
                  </a:lnTo>
                  <a:lnTo>
                    <a:pt x="870" y="251"/>
                  </a:lnTo>
                  <a:lnTo>
                    <a:pt x="869" y="257"/>
                  </a:lnTo>
                  <a:lnTo>
                    <a:pt x="868" y="264"/>
                  </a:lnTo>
                  <a:lnTo>
                    <a:pt x="867" y="271"/>
                  </a:lnTo>
                  <a:lnTo>
                    <a:pt x="863" y="276"/>
                  </a:lnTo>
                  <a:lnTo>
                    <a:pt x="861" y="281"/>
                  </a:lnTo>
                  <a:lnTo>
                    <a:pt x="858" y="287"/>
                  </a:lnTo>
                  <a:lnTo>
                    <a:pt x="854" y="291"/>
                  </a:lnTo>
                  <a:lnTo>
                    <a:pt x="851" y="294"/>
                  </a:lnTo>
                  <a:lnTo>
                    <a:pt x="845" y="298"/>
                  </a:lnTo>
                  <a:lnTo>
                    <a:pt x="840" y="300"/>
                  </a:lnTo>
                  <a:lnTo>
                    <a:pt x="835" y="302"/>
                  </a:lnTo>
                  <a:lnTo>
                    <a:pt x="829" y="305"/>
                  </a:lnTo>
                  <a:lnTo>
                    <a:pt x="823" y="307"/>
                  </a:lnTo>
                  <a:lnTo>
                    <a:pt x="816" y="307"/>
                  </a:lnTo>
                  <a:lnTo>
                    <a:pt x="809" y="308"/>
                  </a:lnTo>
                  <a:lnTo>
                    <a:pt x="802" y="307"/>
                  </a:lnTo>
                  <a:lnTo>
                    <a:pt x="795" y="307"/>
                  </a:lnTo>
                  <a:lnTo>
                    <a:pt x="788" y="305"/>
                  </a:lnTo>
                  <a:lnTo>
                    <a:pt x="783" y="302"/>
                  </a:lnTo>
                  <a:lnTo>
                    <a:pt x="778" y="300"/>
                  </a:lnTo>
                  <a:lnTo>
                    <a:pt x="772" y="298"/>
                  </a:lnTo>
                  <a:lnTo>
                    <a:pt x="768" y="294"/>
                  </a:lnTo>
                  <a:lnTo>
                    <a:pt x="764" y="291"/>
                  </a:lnTo>
                  <a:lnTo>
                    <a:pt x="760" y="287"/>
                  </a:lnTo>
                  <a:lnTo>
                    <a:pt x="757" y="281"/>
                  </a:lnTo>
                  <a:lnTo>
                    <a:pt x="754" y="276"/>
                  </a:lnTo>
                  <a:lnTo>
                    <a:pt x="752" y="271"/>
                  </a:lnTo>
                  <a:lnTo>
                    <a:pt x="750" y="264"/>
                  </a:lnTo>
                  <a:lnTo>
                    <a:pt x="749" y="257"/>
                  </a:lnTo>
                  <a:lnTo>
                    <a:pt x="748" y="251"/>
                  </a:lnTo>
                  <a:lnTo>
                    <a:pt x="748" y="243"/>
                  </a:lnTo>
                  <a:lnTo>
                    <a:pt x="748" y="110"/>
                  </a:lnTo>
                  <a:close/>
                  <a:moveTo>
                    <a:pt x="600" y="49"/>
                  </a:moveTo>
                  <a:lnTo>
                    <a:pt x="725" y="49"/>
                  </a:lnTo>
                  <a:lnTo>
                    <a:pt x="725" y="86"/>
                  </a:lnTo>
                  <a:lnTo>
                    <a:pt x="682" y="86"/>
                  </a:lnTo>
                  <a:lnTo>
                    <a:pt x="682" y="305"/>
                  </a:lnTo>
                  <a:lnTo>
                    <a:pt x="642" y="305"/>
                  </a:lnTo>
                  <a:lnTo>
                    <a:pt x="642" y="86"/>
                  </a:lnTo>
                  <a:lnTo>
                    <a:pt x="600" y="86"/>
                  </a:lnTo>
                  <a:lnTo>
                    <a:pt x="600" y="49"/>
                  </a:lnTo>
                  <a:close/>
                  <a:moveTo>
                    <a:pt x="461" y="49"/>
                  </a:moveTo>
                  <a:lnTo>
                    <a:pt x="585" y="49"/>
                  </a:lnTo>
                  <a:lnTo>
                    <a:pt x="585" y="86"/>
                  </a:lnTo>
                  <a:lnTo>
                    <a:pt x="543" y="86"/>
                  </a:lnTo>
                  <a:lnTo>
                    <a:pt x="543" y="305"/>
                  </a:lnTo>
                  <a:lnTo>
                    <a:pt x="503" y="305"/>
                  </a:lnTo>
                  <a:lnTo>
                    <a:pt x="503" y="86"/>
                  </a:lnTo>
                  <a:lnTo>
                    <a:pt x="461" y="86"/>
                  </a:lnTo>
                  <a:lnTo>
                    <a:pt x="461" y="49"/>
                  </a:lnTo>
                  <a:close/>
                  <a:moveTo>
                    <a:pt x="357" y="220"/>
                  </a:moveTo>
                  <a:lnTo>
                    <a:pt x="306" y="49"/>
                  </a:lnTo>
                  <a:lnTo>
                    <a:pt x="348" y="49"/>
                  </a:lnTo>
                  <a:lnTo>
                    <a:pt x="379" y="165"/>
                  </a:lnTo>
                  <a:lnTo>
                    <a:pt x="410" y="49"/>
                  </a:lnTo>
                  <a:lnTo>
                    <a:pt x="448" y="49"/>
                  </a:lnTo>
                  <a:lnTo>
                    <a:pt x="397" y="220"/>
                  </a:lnTo>
                  <a:lnTo>
                    <a:pt x="397" y="305"/>
                  </a:lnTo>
                  <a:lnTo>
                    <a:pt x="357" y="305"/>
                  </a:lnTo>
                  <a:lnTo>
                    <a:pt x="357" y="220"/>
                  </a:lnTo>
                  <a:close/>
                  <a:moveTo>
                    <a:pt x="266" y="0"/>
                  </a:moveTo>
                  <a:lnTo>
                    <a:pt x="266" y="35"/>
                  </a:lnTo>
                  <a:lnTo>
                    <a:pt x="231" y="35"/>
                  </a:lnTo>
                  <a:lnTo>
                    <a:pt x="231" y="0"/>
                  </a:lnTo>
                  <a:lnTo>
                    <a:pt x="266" y="0"/>
                  </a:lnTo>
                  <a:close/>
                  <a:moveTo>
                    <a:pt x="199" y="223"/>
                  </a:moveTo>
                  <a:lnTo>
                    <a:pt x="238" y="223"/>
                  </a:lnTo>
                  <a:lnTo>
                    <a:pt x="219" y="94"/>
                  </a:lnTo>
                  <a:lnTo>
                    <a:pt x="199" y="223"/>
                  </a:lnTo>
                  <a:close/>
                  <a:moveTo>
                    <a:pt x="211" y="0"/>
                  </a:moveTo>
                  <a:lnTo>
                    <a:pt x="211" y="35"/>
                  </a:lnTo>
                  <a:lnTo>
                    <a:pt x="175" y="35"/>
                  </a:lnTo>
                  <a:lnTo>
                    <a:pt x="175" y="0"/>
                  </a:lnTo>
                  <a:lnTo>
                    <a:pt x="211" y="0"/>
                  </a:lnTo>
                  <a:close/>
                  <a:moveTo>
                    <a:pt x="291" y="305"/>
                  </a:moveTo>
                  <a:lnTo>
                    <a:pt x="251" y="305"/>
                  </a:lnTo>
                  <a:lnTo>
                    <a:pt x="244" y="258"/>
                  </a:lnTo>
                  <a:lnTo>
                    <a:pt x="194" y="258"/>
                  </a:lnTo>
                  <a:lnTo>
                    <a:pt x="188" y="305"/>
                  </a:lnTo>
                  <a:lnTo>
                    <a:pt x="151" y="305"/>
                  </a:lnTo>
                  <a:lnTo>
                    <a:pt x="192" y="49"/>
                  </a:lnTo>
                  <a:lnTo>
                    <a:pt x="250" y="49"/>
                  </a:lnTo>
                  <a:lnTo>
                    <a:pt x="291" y="305"/>
                  </a:lnTo>
                  <a:close/>
                  <a:moveTo>
                    <a:pt x="53" y="202"/>
                  </a:moveTo>
                  <a:lnTo>
                    <a:pt x="41" y="226"/>
                  </a:lnTo>
                  <a:lnTo>
                    <a:pt x="41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41" y="49"/>
                  </a:lnTo>
                  <a:lnTo>
                    <a:pt x="41" y="160"/>
                  </a:lnTo>
                  <a:lnTo>
                    <a:pt x="93" y="49"/>
                  </a:lnTo>
                  <a:lnTo>
                    <a:pt x="134" y="49"/>
                  </a:lnTo>
                  <a:lnTo>
                    <a:pt x="78" y="163"/>
                  </a:lnTo>
                  <a:lnTo>
                    <a:pt x="134" y="305"/>
                  </a:lnTo>
                  <a:lnTo>
                    <a:pt x="92" y="305"/>
                  </a:lnTo>
                  <a:lnTo>
                    <a:pt x="53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210851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61" r:id="rId20"/>
    <p:sldLayoutId id="2147483918" r:id="rId21"/>
    <p:sldLayoutId id="2147483919" r:id="rId22"/>
    <p:sldLayoutId id="2147483920" r:id="rId23"/>
    <p:sldLayoutId id="2147483921" r:id="rId24"/>
    <p:sldLayoutId id="2147483922" r:id="rId25"/>
    <p:sldLayoutId id="2147483923" r:id="rId26"/>
    <p:sldLayoutId id="2147483924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7B1B20F3-350C-497C-90FB-329FF46F9C4B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8843371" y="6428428"/>
              <a:ext cx="2004515" cy="290400"/>
            </a:xfrm>
            <a:custGeom>
              <a:avLst/>
              <a:gdLst>
                <a:gd name="T0" fmla="*/ 2079 w 2127"/>
                <a:gd name="T1" fmla="*/ 258 h 308"/>
                <a:gd name="T2" fmla="*/ 1880 w 2127"/>
                <a:gd name="T3" fmla="*/ 86 h 308"/>
                <a:gd name="T4" fmla="*/ 1916 w 2127"/>
                <a:gd name="T5" fmla="*/ 154 h 308"/>
                <a:gd name="T6" fmla="*/ 1918 w 2127"/>
                <a:gd name="T7" fmla="*/ 97 h 308"/>
                <a:gd name="T8" fmla="*/ 1880 w 2127"/>
                <a:gd name="T9" fmla="*/ 86 h 308"/>
                <a:gd name="T10" fmla="*/ 1920 w 2127"/>
                <a:gd name="T11" fmla="*/ 224 h 308"/>
                <a:gd name="T12" fmla="*/ 1900 w 2127"/>
                <a:gd name="T13" fmla="*/ 201 h 308"/>
                <a:gd name="T14" fmla="*/ 1909 w 2127"/>
                <a:gd name="T15" fmla="*/ 49 h 308"/>
                <a:gd name="T16" fmla="*/ 1946 w 2127"/>
                <a:gd name="T17" fmla="*/ 63 h 308"/>
                <a:gd name="T18" fmla="*/ 1961 w 2127"/>
                <a:gd name="T19" fmla="*/ 100 h 308"/>
                <a:gd name="T20" fmla="*/ 1950 w 2127"/>
                <a:gd name="T21" fmla="*/ 166 h 308"/>
                <a:gd name="T22" fmla="*/ 1949 w 2127"/>
                <a:gd name="T23" fmla="*/ 190 h 308"/>
                <a:gd name="T24" fmla="*/ 1961 w 2127"/>
                <a:gd name="T25" fmla="*/ 273 h 308"/>
                <a:gd name="T26" fmla="*/ 1760 w 2127"/>
                <a:gd name="T27" fmla="*/ 223 h 308"/>
                <a:gd name="T28" fmla="*/ 1709 w 2127"/>
                <a:gd name="T29" fmla="*/ 305 h 308"/>
                <a:gd name="T30" fmla="*/ 1663 w 2127"/>
                <a:gd name="T31" fmla="*/ 49 h 308"/>
                <a:gd name="T32" fmla="*/ 1464 w 2127"/>
                <a:gd name="T33" fmla="*/ 223 h 308"/>
                <a:gd name="T34" fmla="*/ 1413 w 2127"/>
                <a:gd name="T35" fmla="*/ 305 h 308"/>
                <a:gd name="T36" fmla="*/ 1374 w 2127"/>
                <a:gd name="T37" fmla="*/ 86 h 308"/>
                <a:gd name="T38" fmla="*/ 1170 w 2127"/>
                <a:gd name="T39" fmla="*/ 45 h 308"/>
                <a:gd name="T40" fmla="*/ 1210 w 2127"/>
                <a:gd name="T41" fmla="*/ 58 h 308"/>
                <a:gd name="T42" fmla="*/ 1228 w 2127"/>
                <a:gd name="T43" fmla="*/ 95 h 308"/>
                <a:gd name="T44" fmla="*/ 1190 w 2127"/>
                <a:gd name="T45" fmla="*/ 96 h 308"/>
                <a:gd name="T46" fmla="*/ 1171 w 2127"/>
                <a:gd name="T47" fmla="*/ 82 h 308"/>
                <a:gd name="T48" fmla="*/ 1152 w 2127"/>
                <a:gd name="T49" fmla="*/ 96 h 308"/>
                <a:gd name="T50" fmla="*/ 1163 w 2127"/>
                <a:gd name="T51" fmla="*/ 141 h 308"/>
                <a:gd name="T52" fmla="*/ 1214 w 2127"/>
                <a:gd name="T53" fmla="*/ 194 h 308"/>
                <a:gd name="T54" fmla="*/ 1229 w 2127"/>
                <a:gd name="T55" fmla="*/ 236 h 308"/>
                <a:gd name="T56" fmla="*/ 1220 w 2127"/>
                <a:gd name="T57" fmla="*/ 281 h 308"/>
                <a:gd name="T58" fmla="*/ 1190 w 2127"/>
                <a:gd name="T59" fmla="*/ 305 h 308"/>
                <a:gd name="T60" fmla="*/ 1143 w 2127"/>
                <a:gd name="T61" fmla="*/ 302 h 308"/>
                <a:gd name="T62" fmla="*/ 1116 w 2127"/>
                <a:gd name="T63" fmla="*/ 276 h 308"/>
                <a:gd name="T64" fmla="*/ 1147 w 2127"/>
                <a:gd name="T65" fmla="*/ 227 h 308"/>
                <a:gd name="T66" fmla="*/ 1160 w 2127"/>
                <a:gd name="T67" fmla="*/ 269 h 308"/>
                <a:gd name="T68" fmla="*/ 1185 w 2127"/>
                <a:gd name="T69" fmla="*/ 261 h 308"/>
                <a:gd name="T70" fmla="*/ 1182 w 2127"/>
                <a:gd name="T71" fmla="*/ 220 h 308"/>
                <a:gd name="T72" fmla="*/ 1128 w 2127"/>
                <a:gd name="T73" fmla="*/ 163 h 308"/>
                <a:gd name="T74" fmla="*/ 1111 w 2127"/>
                <a:gd name="T75" fmla="*/ 123 h 308"/>
                <a:gd name="T76" fmla="*/ 1117 w 2127"/>
                <a:gd name="T77" fmla="*/ 77 h 308"/>
                <a:gd name="T78" fmla="*/ 1144 w 2127"/>
                <a:gd name="T79" fmla="*/ 50 h 308"/>
                <a:gd name="T80" fmla="*/ 1078 w 2127"/>
                <a:gd name="T81" fmla="*/ 305 h 308"/>
                <a:gd name="T82" fmla="*/ 985 w 2127"/>
                <a:gd name="T83" fmla="*/ 0 h 308"/>
                <a:gd name="T84" fmla="*/ 894 w 2127"/>
                <a:gd name="T85" fmla="*/ 35 h 308"/>
                <a:gd name="T86" fmla="*/ 905 w 2127"/>
                <a:gd name="T87" fmla="*/ 305 h 308"/>
                <a:gd name="T88" fmla="*/ 866 w 2127"/>
                <a:gd name="T89" fmla="*/ 86 h 308"/>
                <a:gd name="T90" fmla="*/ 603 w 2127"/>
                <a:gd name="T91" fmla="*/ 49 h 308"/>
                <a:gd name="T92" fmla="*/ 603 w 2127"/>
                <a:gd name="T93" fmla="*/ 86 h 308"/>
                <a:gd name="T94" fmla="*/ 441 w 2127"/>
                <a:gd name="T95" fmla="*/ 257 h 308"/>
                <a:gd name="T96" fmla="*/ 441 w 2127"/>
                <a:gd name="T97" fmla="*/ 257 h 308"/>
                <a:gd name="T98" fmla="*/ 249 w 2127"/>
                <a:gd name="T99" fmla="*/ 35 h 308"/>
                <a:gd name="T100" fmla="*/ 182 w 2127"/>
                <a:gd name="T101" fmla="*/ 223 h 308"/>
                <a:gd name="T102" fmla="*/ 234 w 2127"/>
                <a:gd name="T103" fmla="*/ 305 h 308"/>
                <a:gd name="T104" fmla="*/ 274 w 2127"/>
                <a:gd name="T105" fmla="*/ 305 h 308"/>
                <a:gd name="T106" fmla="*/ 74 w 2127"/>
                <a:gd name="T107" fmla="*/ 166 h 308"/>
                <a:gd name="T108" fmla="*/ 77 w 2127"/>
                <a:gd name="T109" fmla="*/ 97 h 308"/>
                <a:gd name="T110" fmla="*/ 63 w 2127"/>
                <a:gd name="T111" fmla="*/ 86 h 308"/>
                <a:gd name="T112" fmla="*/ 116 w 2127"/>
                <a:gd name="T113" fmla="*/ 166 h 308"/>
                <a:gd name="T114" fmla="*/ 95 w 2127"/>
                <a:gd name="T115" fmla="*/ 199 h 308"/>
                <a:gd name="T116" fmla="*/ 40 w 2127"/>
                <a:gd name="T117" fmla="*/ 208 h 308"/>
                <a:gd name="T118" fmla="*/ 79 w 2127"/>
                <a:gd name="T119" fmla="*/ 51 h 308"/>
                <a:gd name="T120" fmla="*/ 108 w 2127"/>
                <a:gd name="T121" fmla="*/ 69 h 308"/>
                <a:gd name="T122" fmla="*/ 118 w 2127"/>
                <a:gd name="T123" fmla="*/ 112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27" h="308">
                  <a:moveTo>
                    <a:pt x="2035" y="223"/>
                  </a:moveTo>
                  <a:lnTo>
                    <a:pt x="2074" y="223"/>
                  </a:lnTo>
                  <a:lnTo>
                    <a:pt x="2054" y="94"/>
                  </a:lnTo>
                  <a:lnTo>
                    <a:pt x="2035" y="223"/>
                  </a:lnTo>
                  <a:close/>
                  <a:moveTo>
                    <a:pt x="2127" y="305"/>
                  </a:moveTo>
                  <a:lnTo>
                    <a:pt x="2085" y="305"/>
                  </a:lnTo>
                  <a:lnTo>
                    <a:pt x="2079" y="258"/>
                  </a:lnTo>
                  <a:lnTo>
                    <a:pt x="2029" y="258"/>
                  </a:lnTo>
                  <a:lnTo>
                    <a:pt x="2023" y="305"/>
                  </a:lnTo>
                  <a:lnTo>
                    <a:pt x="1986" y="305"/>
                  </a:lnTo>
                  <a:lnTo>
                    <a:pt x="2026" y="49"/>
                  </a:lnTo>
                  <a:lnTo>
                    <a:pt x="2085" y="49"/>
                  </a:lnTo>
                  <a:lnTo>
                    <a:pt x="2127" y="305"/>
                  </a:lnTo>
                  <a:close/>
                  <a:moveTo>
                    <a:pt x="1880" y="86"/>
                  </a:moveTo>
                  <a:lnTo>
                    <a:pt x="1880" y="164"/>
                  </a:lnTo>
                  <a:lnTo>
                    <a:pt x="1896" y="164"/>
                  </a:lnTo>
                  <a:lnTo>
                    <a:pt x="1901" y="163"/>
                  </a:lnTo>
                  <a:lnTo>
                    <a:pt x="1907" y="163"/>
                  </a:lnTo>
                  <a:lnTo>
                    <a:pt x="1910" y="161"/>
                  </a:lnTo>
                  <a:lnTo>
                    <a:pt x="1914" y="158"/>
                  </a:lnTo>
                  <a:lnTo>
                    <a:pt x="1916" y="154"/>
                  </a:lnTo>
                  <a:lnTo>
                    <a:pt x="1918" y="149"/>
                  </a:lnTo>
                  <a:lnTo>
                    <a:pt x="1919" y="144"/>
                  </a:lnTo>
                  <a:lnTo>
                    <a:pt x="1920" y="136"/>
                  </a:lnTo>
                  <a:lnTo>
                    <a:pt x="1920" y="111"/>
                  </a:lnTo>
                  <a:lnTo>
                    <a:pt x="1920" y="105"/>
                  </a:lnTo>
                  <a:lnTo>
                    <a:pt x="1919" y="99"/>
                  </a:lnTo>
                  <a:lnTo>
                    <a:pt x="1918" y="97"/>
                  </a:lnTo>
                  <a:lnTo>
                    <a:pt x="1917" y="95"/>
                  </a:lnTo>
                  <a:lnTo>
                    <a:pt x="1915" y="91"/>
                  </a:lnTo>
                  <a:lnTo>
                    <a:pt x="1913" y="89"/>
                  </a:lnTo>
                  <a:lnTo>
                    <a:pt x="1909" y="87"/>
                  </a:lnTo>
                  <a:lnTo>
                    <a:pt x="1905" y="86"/>
                  </a:lnTo>
                  <a:lnTo>
                    <a:pt x="1899" y="86"/>
                  </a:lnTo>
                  <a:lnTo>
                    <a:pt x="1880" y="86"/>
                  </a:lnTo>
                  <a:close/>
                  <a:moveTo>
                    <a:pt x="1925" y="305"/>
                  </a:moveTo>
                  <a:lnTo>
                    <a:pt x="1923" y="299"/>
                  </a:lnTo>
                  <a:lnTo>
                    <a:pt x="1922" y="294"/>
                  </a:lnTo>
                  <a:lnTo>
                    <a:pt x="1920" y="286"/>
                  </a:lnTo>
                  <a:lnTo>
                    <a:pt x="1920" y="273"/>
                  </a:lnTo>
                  <a:lnTo>
                    <a:pt x="1920" y="233"/>
                  </a:lnTo>
                  <a:lnTo>
                    <a:pt x="1920" y="224"/>
                  </a:lnTo>
                  <a:lnTo>
                    <a:pt x="1919" y="218"/>
                  </a:lnTo>
                  <a:lnTo>
                    <a:pt x="1917" y="212"/>
                  </a:lnTo>
                  <a:lnTo>
                    <a:pt x="1914" y="207"/>
                  </a:lnTo>
                  <a:lnTo>
                    <a:pt x="1911" y="204"/>
                  </a:lnTo>
                  <a:lnTo>
                    <a:pt x="1909" y="203"/>
                  </a:lnTo>
                  <a:lnTo>
                    <a:pt x="1906" y="202"/>
                  </a:lnTo>
                  <a:lnTo>
                    <a:pt x="1900" y="201"/>
                  </a:lnTo>
                  <a:lnTo>
                    <a:pt x="1894" y="200"/>
                  </a:lnTo>
                  <a:lnTo>
                    <a:pt x="1880" y="200"/>
                  </a:lnTo>
                  <a:lnTo>
                    <a:pt x="1880" y="305"/>
                  </a:lnTo>
                  <a:lnTo>
                    <a:pt x="1840" y="305"/>
                  </a:lnTo>
                  <a:lnTo>
                    <a:pt x="1840" y="49"/>
                  </a:lnTo>
                  <a:lnTo>
                    <a:pt x="1901" y="49"/>
                  </a:lnTo>
                  <a:lnTo>
                    <a:pt x="1909" y="49"/>
                  </a:lnTo>
                  <a:lnTo>
                    <a:pt x="1915" y="50"/>
                  </a:lnTo>
                  <a:lnTo>
                    <a:pt x="1922" y="51"/>
                  </a:lnTo>
                  <a:lnTo>
                    <a:pt x="1928" y="52"/>
                  </a:lnTo>
                  <a:lnTo>
                    <a:pt x="1933" y="54"/>
                  </a:lnTo>
                  <a:lnTo>
                    <a:pt x="1938" y="57"/>
                  </a:lnTo>
                  <a:lnTo>
                    <a:pt x="1943" y="60"/>
                  </a:lnTo>
                  <a:lnTo>
                    <a:pt x="1946" y="63"/>
                  </a:lnTo>
                  <a:lnTo>
                    <a:pt x="1950" y="67"/>
                  </a:lnTo>
                  <a:lnTo>
                    <a:pt x="1952" y="72"/>
                  </a:lnTo>
                  <a:lnTo>
                    <a:pt x="1955" y="76"/>
                  </a:lnTo>
                  <a:lnTo>
                    <a:pt x="1957" y="81"/>
                  </a:lnTo>
                  <a:lnTo>
                    <a:pt x="1959" y="88"/>
                  </a:lnTo>
                  <a:lnTo>
                    <a:pt x="1960" y="93"/>
                  </a:lnTo>
                  <a:lnTo>
                    <a:pt x="1961" y="100"/>
                  </a:lnTo>
                  <a:lnTo>
                    <a:pt x="1961" y="108"/>
                  </a:lnTo>
                  <a:lnTo>
                    <a:pt x="1961" y="128"/>
                  </a:lnTo>
                  <a:lnTo>
                    <a:pt x="1960" y="137"/>
                  </a:lnTo>
                  <a:lnTo>
                    <a:pt x="1959" y="146"/>
                  </a:lnTo>
                  <a:lnTo>
                    <a:pt x="1956" y="153"/>
                  </a:lnTo>
                  <a:lnTo>
                    <a:pt x="1954" y="160"/>
                  </a:lnTo>
                  <a:lnTo>
                    <a:pt x="1950" y="166"/>
                  </a:lnTo>
                  <a:lnTo>
                    <a:pt x="1946" y="171"/>
                  </a:lnTo>
                  <a:lnTo>
                    <a:pt x="1941" y="176"/>
                  </a:lnTo>
                  <a:lnTo>
                    <a:pt x="1934" y="180"/>
                  </a:lnTo>
                  <a:lnTo>
                    <a:pt x="1941" y="183"/>
                  </a:lnTo>
                  <a:lnTo>
                    <a:pt x="1944" y="185"/>
                  </a:lnTo>
                  <a:lnTo>
                    <a:pt x="1947" y="187"/>
                  </a:lnTo>
                  <a:lnTo>
                    <a:pt x="1949" y="190"/>
                  </a:lnTo>
                  <a:lnTo>
                    <a:pt x="1951" y="194"/>
                  </a:lnTo>
                  <a:lnTo>
                    <a:pt x="1955" y="200"/>
                  </a:lnTo>
                  <a:lnTo>
                    <a:pt x="1957" y="207"/>
                  </a:lnTo>
                  <a:lnTo>
                    <a:pt x="1960" y="216"/>
                  </a:lnTo>
                  <a:lnTo>
                    <a:pt x="1961" y="224"/>
                  </a:lnTo>
                  <a:lnTo>
                    <a:pt x="1961" y="234"/>
                  </a:lnTo>
                  <a:lnTo>
                    <a:pt x="1961" y="273"/>
                  </a:lnTo>
                  <a:lnTo>
                    <a:pt x="1961" y="282"/>
                  </a:lnTo>
                  <a:lnTo>
                    <a:pt x="1962" y="290"/>
                  </a:lnTo>
                  <a:lnTo>
                    <a:pt x="1963" y="297"/>
                  </a:lnTo>
                  <a:lnTo>
                    <a:pt x="1965" y="305"/>
                  </a:lnTo>
                  <a:lnTo>
                    <a:pt x="1925" y="305"/>
                  </a:lnTo>
                  <a:close/>
                  <a:moveTo>
                    <a:pt x="1721" y="223"/>
                  </a:moveTo>
                  <a:lnTo>
                    <a:pt x="1760" y="223"/>
                  </a:lnTo>
                  <a:lnTo>
                    <a:pt x="1740" y="94"/>
                  </a:lnTo>
                  <a:lnTo>
                    <a:pt x="1721" y="223"/>
                  </a:lnTo>
                  <a:close/>
                  <a:moveTo>
                    <a:pt x="1813" y="305"/>
                  </a:moveTo>
                  <a:lnTo>
                    <a:pt x="1772" y="305"/>
                  </a:lnTo>
                  <a:lnTo>
                    <a:pt x="1765" y="258"/>
                  </a:lnTo>
                  <a:lnTo>
                    <a:pt x="1715" y="258"/>
                  </a:lnTo>
                  <a:lnTo>
                    <a:pt x="1709" y="305"/>
                  </a:lnTo>
                  <a:lnTo>
                    <a:pt x="1672" y="305"/>
                  </a:lnTo>
                  <a:lnTo>
                    <a:pt x="1713" y="49"/>
                  </a:lnTo>
                  <a:lnTo>
                    <a:pt x="1771" y="49"/>
                  </a:lnTo>
                  <a:lnTo>
                    <a:pt x="1813" y="305"/>
                  </a:lnTo>
                  <a:close/>
                  <a:moveTo>
                    <a:pt x="1596" y="257"/>
                  </a:moveTo>
                  <a:lnTo>
                    <a:pt x="1626" y="49"/>
                  </a:lnTo>
                  <a:lnTo>
                    <a:pt x="1663" y="49"/>
                  </a:lnTo>
                  <a:lnTo>
                    <a:pt x="1624" y="305"/>
                  </a:lnTo>
                  <a:lnTo>
                    <a:pt x="1564" y="305"/>
                  </a:lnTo>
                  <a:lnTo>
                    <a:pt x="1525" y="49"/>
                  </a:lnTo>
                  <a:lnTo>
                    <a:pt x="1565" y="49"/>
                  </a:lnTo>
                  <a:lnTo>
                    <a:pt x="1596" y="257"/>
                  </a:lnTo>
                  <a:close/>
                  <a:moveTo>
                    <a:pt x="1426" y="223"/>
                  </a:moveTo>
                  <a:lnTo>
                    <a:pt x="1464" y="223"/>
                  </a:lnTo>
                  <a:lnTo>
                    <a:pt x="1445" y="94"/>
                  </a:lnTo>
                  <a:lnTo>
                    <a:pt x="1426" y="223"/>
                  </a:lnTo>
                  <a:close/>
                  <a:moveTo>
                    <a:pt x="1516" y="305"/>
                  </a:moveTo>
                  <a:lnTo>
                    <a:pt x="1476" y="305"/>
                  </a:lnTo>
                  <a:lnTo>
                    <a:pt x="1469" y="258"/>
                  </a:lnTo>
                  <a:lnTo>
                    <a:pt x="1420" y="258"/>
                  </a:lnTo>
                  <a:lnTo>
                    <a:pt x="1413" y="305"/>
                  </a:lnTo>
                  <a:lnTo>
                    <a:pt x="1376" y="305"/>
                  </a:lnTo>
                  <a:lnTo>
                    <a:pt x="1417" y="49"/>
                  </a:lnTo>
                  <a:lnTo>
                    <a:pt x="1476" y="49"/>
                  </a:lnTo>
                  <a:lnTo>
                    <a:pt x="1516" y="305"/>
                  </a:lnTo>
                  <a:close/>
                  <a:moveTo>
                    <a:pt x="1250" y="49"/>
                  </a:moveTo>
                  <a:lnTo>
                    <a:pt x="1374" y="49"/>
                  </a:lnTo>
                  <a:lnTo>
                    <a:pt x="1374" y="86"/>
                  </a:lnTo>
                  <a:lnTo>
                    <a:pt x="1332" y="86"/>
                  </a:lnTo>
                  <a:lnTo>
                    <a:pt x="1332" y="305"/>
                  </a:lnTo>
                  <a:lnTo>
                    <a:pt x="1292" y="305"/>
                  </a:lnTo>
                  <a:lnTo>
                    <a:pt x="1292" y="86"/>
                  </a:lnTo>
                  <a:lnTo>
                    <a:pt x="1250" y="86"/>
                  </a:lnTo>
                  <a:lnTo>
                    <a:pt x="1250" y="49"/>
                  </a:lnTo>
                  <a:close/>
                  <a:moveTo>
                    <a:pt x="1170" y="45"/>
                  </a:moveTo>
                  <a:lnTo>
                    <a:pt x="1177" y="45"/>
                  </a:lnTo>
                  <a:lnTo>
                    <a:pt x="1183" y="47"/>
                  </a:lnTo>
                  <a:lnTo>
                    <a:pt x="1190" y="48"/>
                  </a:lnTo>
                  <a:lnTo>
                    <a:pt x="1195" y="50"/>
                  </a:lnTo>
                  <a:lnTo>
                    <a:pt x="1201" y="53"/>
                  </a:lnTo>
                  <a:lnTo>
                    <a:pt x="1206" y="55"/>
                  </a:lnTo>
                  <a:lnTo>
                    <a:pt x="1210" y="58"/>
                  </a:lnTo>
                  <a:lnTo>
                    <a:pt x="1214" y="62"/>
                  </a:lnTo>
                  <a:lnTo>
                    <a:pt x="1217" y="67"/>
                  </a:lnTo>
                  <a:lnTo>
                    <a:pt x="1220" y="72"/>
                  </a:lnTo>
                  <a:lnTo>
                    <a:pt x="1224" y="77"/>
                  </a:lnTo>
                  <a:lnTo>
                    <a:pt x="1226" y="82"/>
                  </a:lnTo>
                  <a:lnTo>
                    <a:pt x="1227" y="89"/>
                  </a:lnTo>
                  <a:lnTo>
                    <a:pt x="1228" y="95"/>
                  </a:lnTo>
                  <a:lnTo>
                    <a:pt x="1229" y="103"/>
                  </a:lnTo>
                  <a:lnTo>
                    <a:pt x="1229" y="110"/>
                  </a:lnTo>
                  <a:lnTo>
                    <a:pt x="1229" y="118"/>
                  </a:lnTo>
                  <a:lnTo>
                    <a:pt x="1191" y="118"/>
                  </a:lnTo>
                  <a:lnTo>
                    <a:pt x="1191" y="108"/>
                  </a:lnTo>
                  <a:lnTo>
                    <a:pt x="1191" y="102"/>
                  </a:lnTo>
                  <a:lnTo>
                    <a:pt x="1190" y="96"/>
                  </a:lnTo>
                  <a:lnTo>
                    <a:pt x="1188" y="91"/>
                  </a:lnTo>
                  <a:lnTo>
                    <a:pt x="1187" y="90"/>
                  </a:lnTo>
                  <a:lnTo>
                    <a:pt x="1185" y="88"/>
                  </a:lnTo>
                  <a:lnTo>
                    <a:pt x="1183" y="86"/>
                  </a:lnTo>
                  <a:lnTo>
                    <a:pt x="1179" y="84"/>
                  </a:lnTo>
                  <a:lnTo>
                    <a:pt x="1175" y="82"/>
                  </a:lnTo>
                  <a:lnTo>
                    <a:pt x="1171" y="82"/>
                  </a:lnTo>
                  <a:lnTo>
                    <a:pt x="1166" y="82"/>
                  </a:lnTo>
                  <a:lnTo>
                    <a:pt x="1162" y="84"/>
                  </a:lnTo>
                  <a:lnTo>
                    <a:pt x="1159" y="86"/>
                  </a:lnTo>
                  <a:lnTo>
                    <a:pt x="1156" y="88"/>
                  </a:lnTo>
                  <a:lnTo>
                    <a:pt x="1154" y="91"/>
                  </a:lnTo>
                  <a:lnTo>
                    <a:pt x="1153" y="93"/>
                  </a:lnTo>
                  <a:lnTo>
                    <a:pt x="1152" y="96"/>
                  </a:lnTo>
                  <a:lnTo>
                    <a:pt x="1152" y="102"/>
                  </a:lnTo>
                  <a:lnTo>
                    <a:pt x="1151" y="108"/>
                  </a:lnTo>
                  <a:lnTo>
                    <a:pt x="1152" y="116"/>
                  </a:lnTo>
                  <a:lnTo>
                    <a:pt x="1153" y="122"/>
                  </a:lnTo>
                  <a:lnTo>
                    <a:pt x="1154" y="126"/>
                  </a:lnTo>
                  <a:lnTo>
                    <a:pt x="1158" y="133"/>
                  </a:lnTo>
                  <a:lnTo>
                    <a:pt x="1163" y="141"/>
                  </a:lnTo>
                  <a:lnTo>
                    <a:pt x="1169" y="147"/>
                  </a:lnTo>
                  <a:lnTo>
                    <a:pt x="1176" y="154"/>
                  </a:lnTo>
                  <a:lnTo>
                    <a:pt x="1190" y="167"/>
                  </a:lnTo>
                  <a:lnTo>
                    <a:pt x="1197" y="174"/>
                  </a:lnTo>
                  <a:lnTo>
                    <a:pt x="1205" y="182"/>
                  </a:lnTo>
                  <a:lnTo>
                    <a:pt x="1211" y="189"/>
                  </a:lnTo>
                  <a:lnTo>
                    <a:pt x="1214" y="194"/>
                  </a:lnTo>
                  <a:lnTo>
                    <a:pt x="1217" y="199"/>
                  </a:lnTo>
                  <a:lnTo>
                    <a:pt x="1222" y="208"/>
                  </a:lnTo>
                  <a:lnTo>
                    <a:pt x="1225" y="213"/>
                  </a:lnTo>
                  <a:lnTo>
                    <a:pt x="1226" y="218"/>
                  </a:lnTo>
                  <a:lnTo>
                    <a:pt x="1228" y="224"/>
                  </a:lnTo>
                  <a:lnTo>
                    <a:pt x="1229" y="229"/>
                  </a:lnTo>
                  <a:lnTo>
                    <a:pt x="1229" y="236"/>
                  </a:lnTo>
                  <a:lnTo>
                    <a:pt x="1229" y="243"/>
                  </a:lnTo>
                  <a:lnTo>
                    <a:pt x="1229" y="251"/>
                  </a:lnTo>
                  <a:lnTo>
                    <a:pt x="1229" y="257"/>
                  </a:lnTo>
                  <a:lnTo>
                    <a:pt x="1227" y="264"/>
                  </a:lnTo>
                  <a:lnTo>
                    <a:pt x="1226" y="271"/>
                  </a:lnTo>
                  <a:lnTo>
                    <a:pt x="1224" y="276"/>
                  </a:lnTo>
                  <a:lnTo>
                    <a:pt x="1220" y="281"/>
                  </a:lnTo>
                  <a:lnTo>
                    <a:pt x="1217" y="287"/>
                  </a:lnTo>
                  <a:lnTo>
                    <a:pt x="1214" y="291"/>
                  </a:lnTo>
                  <a:lnTo>
                    <a:pt x="1210" y="294"/>
                  </a:lnTo>
                  <a:lnTo>
                    <a:pt x="1206" y="298"/>
                  </a:lnTo>
                  <a:lnTo>
                    <a:pt x="1200" y="300"/>
                  </a:lnTo>
                  <a:lnTo>
                    <a:pt x="1195" y="302"/>
                  </a:lnTo>
                  <a:lnTo>
                    <a:pt x="1190" y="305"/>
                  </a:lnTo>
                  <a:lnTo>
                    <a:pt x="1183" y="307"/>
                  </a:lnTo>
                  <a:lnTo>
                    <a:pt x="1177" y="307"/>
                  </a:lnTo>
                  <a:lnTo>
                    <a:pt x="1170" y="308"/>
                  </a:lnTo>
                  <a:lnTo>
                    <a:pt x="1162" y="307"/>
                  </a:lnTo>
                  <a:lnTo>
                    <a:pt x="1156" y="307"/>
                  </a:lnTo>
                  <a:lnTo>
                    <a:pt x="1150" y="305"/>
                  </a:lnTo>
                  <a:lnTo>
                    <a:pt x="1143" y="302"/>
                  </a:lnTo>
                  <a:lnTo>
                    <a:pt x="1138" y="300"/>
                  </a:lnTo>
                  <a:lnTo>
                    <a:pt x="1133" y="298"/>
                  </a:lnTo>
                  <a:lnTo>
                    <a:pt x="1128" y="294"/>
                  </a:lnTo>
                  <a:lnTo>
                    <a:pt x="1124" y="291"/>
                  </a:lnTo>
                  <a:lnTo>
                    <a:pt x="1121" y="287"/>
                  </a:lnTo>
                  <a:lnTo>
                    <a:pt x="1118" y="281"/>
                  </a:lnTo>
                  <a:lnTo>
                    <a:pt x="1116" y="276"/>
                  </a:lnTo>
                  <a:lnTo>
                    <a:pt x="1114" y="271"/>
                  </a:lnTo>
                  <a:lnTo>
                    <a:pt x="1111" y="264"/>
                  </a:lnTo>
                  <a:lnTo>
                    <a:pt x="1110" y="257"/>
                  </a:lnTo>
                  <a:lnTo>
                    <a:pt x="1109" y="251"/>
                  </a:lnTo>
                  <a:lnTo>
                    <a:pt x="1109" y="243"/>
                  </a:lnTo>
                  <a:lnTo>
                    <a:pt x="1109" y="227"/>
                  </a:lnTo>
                  <a:lnTo>
                    <a:pt x="1147" y="227"/>
                  </a:lnTo>
                  <a:lnTo>
                    <a:pt x="1147" y="245"/>
                  </a:lnTo>
                  <a:lnTo>
                    <a:pt x="1147" y="252"/>
                  </a:lnTo>
                  <a:lnTo>
                    <a:pt x="1148" y="257"/>
                  </a:lnTo>
                  <a:lnTo>
                    <a:pt x="1151" y="261"/>
                  </a:lnTo>
                  <a:lnTo>
                    <a:pt x="1153" y="264"/>
                  </a:lnTo>
                  <a:lnTo>
                    <a:pt x="1156" y="268"/>
                  </a:lnTo>
                  <a:lnTo>
                    <a:pt x="1160" y="269"/>
                  </a:lnTo>
                  <a:lnTo>
                    <a:pt x="1163" y="270"/>
                  </a:lnTo>
                  <a:lnTo>
                    <a:pt x="1169" y="271"/>
                  </a:lnTo>
                  <a:lnTo>
                    <a:pt x="1173" y="270"/>
                  </a:lnTo>
                  <a:lnTo>
                    <a:pt x="1177" y="269"/>
                  </a:lnTo>
                  <a:lnTo>
                    <a:pt x="1180" y="268"/>
                  </a:lnTo>
                  <a:lnTo>
                    <a:pt x="1183" y="264"/>
                  </a:lnTo>
                  <a:lnTo>
                    <a:pt x="1185" y="261"/>
                  </a:lnTo>
                  <a:lnTo>
                    <a:pt x="1188" y="257"/>
                  </a:lnTo>
                  <a:lnTo>
                    <a:pt x="1189" y="252"/>
                  </a:lnTo>
                  <a:lnTo>
                    <a:pt x="1189" y="245"/>
                  </a:lnTo>
                  <a:lnTo>
                    <a:pt x="1189" y="236"/>
                  </a:lnTo>
                  <a:lnTo>
                    <a:pt x="1188" y="232"/>
                  </a:lnTo>
                  <a:lnTo>
                    <a:pt x="1185" y="227"/>
                  </a:lnTo>
                  <a:lnTo>
                    <a:pt x="1182" y="220"/>
                  </a:lnTo>
                  <a:lnTo>
                    <a:pt x="1177" y="213"/>
                  </a:lnTo>
                  <a:lnTo>
                    <a:pt x="1171" y="205"/>
                  </a:lnTo>
                  <a:lnTo>
                    <a:pt x="1164" y="199"/>
                  </a:lnTo>
                  <a:lnTo>
                    <a:pt x="1150" y="185"/>
                  </a:lnTo>
                  <a:lnTo>
                    <a:pt x="1142" y="179"/>
                  </a:lnTo>
                  <a:lnTo>
                    <a:pt x="1136" y="171"/>
                  </a:lnTo>
                  <a:lnTo>
                    <a:pt x="1128" y="163"/>
                  </a:lnTo>
                  <a:lnTo>
                    <a:pt x="1126" y="159"/>
                  </a:lnTo>
                  <a:lnTo>
                    <a:pt x="1123" y="154"/>
                  </a:lnTo>
                  <a:lnTo>
                    <a:pt x="1118" y="145"/>
                  </a:lnTo>
                  <a:lnTo>
                    <a:pt x="1116" y="140"/>
                  </a:lnTo>
                  <a:lnTo>
                    <a:pt x="1114" y="134"/>
                  </a:lnTo>
                  <a:lnTo>
                    <a:pt x="1113" y="129"/>
                  </a:lnTo>
                  <a:lnTo>
                    <a:pt x="1111" y="123"/>
                  </a:lnTo>
                  <a:lnTo>
                    <a:pt x="1110" y="116"/>
                  </a:lnTo>
                  <a:lnTo>
                    <a:pt x="1110" y="110"/>
                  </a:lnTo>
                  <a:lnTo>
                    <a:pt x="1110" y="103"/>
                  </a:lnTo>
                  <a:lnTo>
                    <a:pt x="1111" y="95"/>
                  </a:lnTo>
                  <a:lnTo>
                    <a:pt x="1113" y="89"/>
                  </a:lnTo>
                  <a:lnTo>
                    <a:pt x="1115" y="82"/>
                  </a:lnTo>
                  <a:lnTo>
                    <a:pt x="1117" y="77"/>
                  </a:lnTo>
                  <a:lnTo>
                    <a:pt x="1119" y="72"/>
                  </a:lnTo>
                  <a:lnTo>
                    <a:pt x="1122" y="67"/>
                  </a:lnTo>
                  <a:lnTo>
                    <a:pt x="1125" y="62"/>
                  </a:lnTo>
                  <a:lnTo>
                    <a:pt x="1129" y="58"/>
                  </a:lnTo>
                  <a:lnTo>
                    <a:pt x="1134" y="55"/>
                  </a:lnTo>
                  <a:lnTo>
                    <a:pt x="1139" y="53"/>
                  </a:lnTo>
                  <a:lnTo>
                    <a:pt x="1144" y="50"/>
                  </a:lnTo>
                  <a:lnTo>
                    <a:pt x="1150" y="48"/>
                  </a:lnTo>
                  <a:lnTo>
                    <a:pt x="1156" y="47"/>
                  </a:lnTo>
                  <a:lnTo>
                    <a:pt x="1162" y="45"/>
                  </a:lnTo>
                  <a:lnTo>
                    <a:pt x="1170" y="45"/>
                  </a:lnTo>
                  <a:close/>
                  <a:moveTo>
                    <a:pt x="1037" y="49"/>
                  </a:moveTo>
                  <a:lnTo>
                    <a:pt x="1078" y="49"/>
                  </a:lnTo>
                  <a:lnTo>
                    <a:pt x="1078" y="305"/>
                  </a:lnTo>
                  <a:lnTo>
                    <a:pt x="1037" y="305"/>
                  </a:lnTo>
                  <a:lnTo>
                    <a:pt x="1037" y="49"/>
                  </a:lnTo>
                  <a:close/>
                  <a:moveTo>
                    <a:pt x="985" y="0"/>
                  </a:moveTo>
                  <a:lnTo>
                    <a:pt x="985" y="35"/>
                  </a:lnTo>
                  <a:lnTo>
                    <a:pt x="949" y="35"/>
                  </a:lnTo>
                  <a:lnTo>
                    <a:pt x="949" y="0"/>
                  </a:lnTo>
                  <a:lnTo>
                    <a:pt x="985" y="0"/>
                  </a:lnTo>
                  <a:close/>
                  <a:moveTo>
                    <a:pt x="918" y="223"/>
                  </a:moveTo>
                  <a:lnTo>
                    <a:pt x="956" y="223"/>
                  </a:lnTo>
                  <a:lnTo>
                    <a:pt x="937" y="94"/>
                  </a:lnTo>
                  <a:lnTo>
                    <a:pt x="918" y="223"/>
                  </a:lnTo>
                  <a:close/>
                  <a:moveTo>
                    <a:pt x="929" y="0"/>
                  </a:moveTo>
                  <a:lnTo>
                    <a:pt x="929" y="35"/>
                  </a:lnTo>
                  <a:lnTo>
                    <a:pt x="894" y="35"/>
                  </a:lnTo>
                  <a:lnTo>
                    <a:pt x="894" y="0"/>
                  </a:lnTo>
                  <a:lnTo>
                    <a:pt x="929" y="0"/>
                  </a:lnTo>
                  <a:close/>
                  <a:moveTo>
                    <a:pt x="1009" y="305"/>
                  </a:moveTo>
                  <a:lnTo>
                    <a:pt x="969" y="305"/>
                  </a:lnTo>
                  <a:lnTo>
                    <a:pt x="962" y="258"/>
                  </a:lnTo>
                  <a:lnTo>
                    <a:pt x="913" y="258"/>
                  </a:lnTo>
                  <a:lnTo>
                    <a:pt x="905" y="305"/>
                  </a:lnTo>
                  <a:lnTo>
                    <a:pt x="868" y="305"/>
                  </a:lnTo>
                  <a:lnTo>
                    <a:pt x="909" y="49"/>
                  </a:lnTo>
                  <a:lnTo>
                    <a:pt x="969" y="49"/>
                  </a:lnTo>
                  <a:lnTo>
                    <a:pt x="1009" y="305"/>
                  </a:lnTo>
                  <a:close/>
                  <a:moveTo>
                    <a:pt x="742" y="49"/>
                  </a:moveTo>
                  <a:lnTo>
                    <a:pt x="866" y="49"/>
                  </a:lnTo>
                  <a:lnTo>
                    <a:pt x="866" y="86"/>
                  </a:lnTo>
                  <a:lnTo>
                    <a:pt x="825" y="86"/>
                  </a:lnTo>
                  <a:lnTo>
                    <a:pt x="825" y="305"/>
                  </a:lnTo>
                  <a:lnTo>
                    <a:pt x="785" y="305"/>
                  </a:lnTo>
                  <a:lnTo>
                    <a:pt x="785" y="86"/>
                  </a:lnTo>
                  <a:lnTo>
                    <a:pt x="742" y="86"/>
                  </a:lnTo>
                  <a:lnTo>
                    <a:pt x="742" y="49"/>
                  </a:lnTo>
                  <a:close/>
                  <a:moveTo>
                    <a:pt x="603" y="49"/>
                  </a:moveTo>
                  <a:lnTo>
                    <a:pt x="728" y="49"/>
                  </a:lnTo>
                  <a:lnTo>
                    <a:pt x="728" y="86"/>
                  </a:lnTo>
                  <a:lnTo>
                    <a:pt x="685" y="86"/>
                  </a:lnTo>
                  <a:lnTo>
                    <a:pt x="685" y="305"/>
                  </a:lnTo>
                  <a:lnTo>
                    <a:pt x="645" y="305"/>
                  </a:lnTo>
                  <a:lnTo>
                    <a:pt x="645" y="86"/>
                  </a:lnTo>
                  <a:lnTo>
                    <a:pt x="603" y="86"/>
                  </a:lnTo>
                  <a:lnTo>
                    <a:pt x="603" y="49"/>
                  </a:lnTo>
                  <a:close/>
                  <a:moveTo>
                    <a:pt x="536" y="49"/>
                  </a:moveTo>
                  <a:lnTo>
                    <a:pt x="576" y="49"/>
                  </a:lnTo>
                  <a:lnTo>
                    <a:pt x="576" y="305"/>
                  </a:lnTo>
                  <a:lnTo>
                    <a:pt x="536" y="305"/>
                  </a:lnTo>
                  <a:lnTo>
                    <a:pt x="536" y="49"/>
                  </a:lnTo>
                  <a:close/>
                  <a:moveTo>
                    <a:pt x="441" y="257"/>
                  </a:moveTo>
                  <a:lnTo>
                    <a:pt x="472" y="49"/>
                  </a:lnTo>
                  <a:lnTo>
                    <a:pt x="509" y="49"/>
                  </a:lnTo>
                  <a:lnTo>
                    <a:pt x="468" y="305"/>
                  </a:lnTo>
                  <a:lnTo>
                    <a:pt x="409" y="305"/>
                  </a:lnTo>
                  <a:lnTo>
                    <a:pt x="370" y="49"/>
                  </a:lnTo>
                  <a:lnTo>
                    <a:pt x="410" y="49"/>
                  </a:lnTo>
                  <a:lnTo>
                    <a:pt x="441" y="257"/>
                  </a:lnTo>
                  <a:close/>
                  <a:moveTo>
                    <a:pt x="301" y="49"/>
                  </a:moveTo>
                  <a:lnTo>
                    <a:pt x="342" y="49"/>
                  </a:lnTo>
                  <a:lnTo>
                    <a:pt x="342" y="305"/>
                  </a:lnTo>
                  <a:lnTo>
                    <a:pt x="301" y="305"/>
                  </a:lnTo>
                  <a:lnTo>
                    <a:pt x="301" y="49"/>
                  </a:lnTo>
                  <a:close/>
                  <a:moveTo>
                    <a:pt x="249" y="0"/>
                  </a:moveTo>
                  <a:lnTo>
                    <a:pt x="249" y="35"/>
                  </a:lnTo>
                  <a:lnTo>
                    <a:pt x="214" y="35"/>
                  </a:lnTo>
                  <a:lnTo>
                    <a:pt x="214" y="0"/>
                  </a:lnTo>
                  <a:lnTo>
                    <a:pt x="249" y="0"/>
                  </a:lnTo>
                  <a:close/>
                  <a:moveTo>
                    <a:pt x="182" y="223"/>
                  </a:moveTo>
                  <a:lnTo>
                    <a:pt x="221" y="223"/>
                  </a:lnTo>
                  <a:lnTo>
                    <a:pt x="202" y="94"/>
                  </a:lnTo>
                  <a:lnTo>
                    <a:pt x="182" y="223"/>
                  </a:lnTo>
                  <a:close/>
                  <a:moveTo>
                    <a:pt x="194" y="0"/>
                  </a:moveTo>
                  <a:lnTo>
                    <a:pt x="194" y="35"/>
                  </a:lnTo>
                  <a:lnTo>
                    <a:pt x="158" y="35"/>
                  </a:lnTo>
                  <a:lnTo>
                    <a:pt x="158" y="0"/>
                  </a:lnTo>
                  <a:lnTo>
                    <a:pt x="194" y="0"/>
                  </a:lnTo>
                  <a:close/>
                  <a:moveTo>
                    <a:pt x="274" y="305"/>
                  </a:moveTo>
                  <a:lnTo>
                    <a:pt x="234" y="305"/>
                  </a:lnTo>
                  <a:lnTo>
                    <a:pt x="226" y="258"/>
                  </a:lnTo>
                  <a:lnTo>
                    <a:pt x="177" y="258"/>
                  </a:lnTo>
                  <a:lnTo>
                    <a:pt x="170" y="305"/>
                  </a:lnTo>
                  <a:lnTo>
                    <a:pt x="133" y="305"/>
                  </a:lnTo>
                  <a:lnTo>
                    <a:pt x="174" y="49"/>
                  </a:lnTo>
                  <a:lnTo>
                    <a:pt x="233" y="49"/>
                  </a:lnTo>
                  <a:lnTo>
                    <a:pt x="274" y="305"/>
                  </a:lnTo>
                  <a:close/>
                  <a:moveTo>
                    <a:pt x="40" y="86"/>
                  </a:moveTo>
                  <a:lnTo>
                    <a:pt x="40" y="171"/>
                  </a:lnTo>
                  <a:lnTo>
                    <a:pt x="59" y="171"/>
                  </a:lnTo>
                  <a:lnTo>
                    <a:pt x="63" y="171"/>
                  </a:lnTo>
                  <a:lnTo>
                    <a:pt x="68" y="170"/>
                  </a:lnTo>
                  <a:lnTo>
                    <a:pt x="71" y="169"/>
                  </a:lnTo>
                  <a:lnTo>
                    <a:pt x="74" y="166"/>
                  </a:lnTo>
                  <a:lnTo>
                    <a:pt x="76" y="163"/>
                  </a:lnTo>
                  <a:lnTo>
                    <a:pt x="77" y="159"/>
                  </a:lnTo>
                  <a:lnTo>
                    <a:pt x="78" y="154"/>
                  </a:lnTo>
                  <a:lnTo>
                    <a:pt x="78" y="148"/>
                  </a:lnTo>
                  <a:lnTo>
                    <a:pt x="78" y="109"/>
                  </a:lnTo>
                  <a:lnTo>
                    <a:pt x="78" y="103"/>
                  </a:lnTo>
                  <a:lnTo>
                    <a:pt x="77" y="97"/>
                  </a:lnTo>
                  <a:lnTo>
                    <a:pt x="76" y="94"/>
                  </a:lnTo>
                  <a:lnTo>
                    <a:pt x="74" y="90"/>
                  </a:lnTo>
                  <a:lnTo>
                    <a:pt x="72" y="89"/>
                  </a:lnTo>
                  <a:lnTo>
                    <a:pt x="71" y="88"/>
                  </a:lnTo>
                  <a:lnTo>
                    <a:pt x="69" y="87"/>
                  </a:lnTo>
                  <a:lnTo>
                    <a:pt x="68" y="87"/>
                  </a:lnTo>
                  <a:lnTo>
                    <a:pt x="63" y="86"/>
                  </a:lnTo>
                  <a:lnTo>
                    <a:pt x="59" y="86"/>
                  </a:lnTo>
                  <a:lnTo>
                    <a:pt x="40" y="86"/>
                  </a:lnTo>
                  <a:close/>
                  <a:moveTo>
                    <a:pt x="118" y="112"/>
                  </a:moveTo>
                  <a:lnTo>
                    <a:pt x="118" y="145"/>
                  </a:lnTo>
                  <a:lnTo>
                    <a:pt x="118" y="152"/>
                  </a:lnTo>
                  <a:lnTo>
                    <a:pt x="118" y="160"/>
                  </a:lnTo>
                  <a:lnTo>
                    <a:pt x="116" y="166"/>
                  </a:lnTo>
                  <a:lnTo>
                    <a:pt x="115" y="172"/>
                  </a:lnTo>
                  <a:lnTo>
                    <a:pt x="113" y="178"/>
                  </a:lnTo>
                  <a:lnTo>
                    <a:pt x="111" y="183"/>
                  </a:lnTo>
                  <a:lnTo>
                    <a:pt x="108" y="188"/>
                  </a:lnTo>
                  <a:lnTo>
                    <a:pt x="104" y="192"/>
                  </a:lnTo>
                  <a:lnTo>
                    <a:pt x="100" y="196"/>
                  </a:lnTo>
                  <a:lnTo>
                    <a:pt x="95" y="199"/>
                  </a:lnTo>
                  <a:lnTo>
                    <a:pt x="91" y="202"/>
                  </a:lnTo>
                  <a:lnTo>
                    <a:pt x="86" y="204"/>
                  </a:lnTo>
                  <a:lnTo>
                    <a:pt x="79" y="206"/>
                  </a:lnTo>
                  <a:lnTo>
                    <a:pt x="73" y="207"/>
                  </a:lnTo>
                  <a:lnTo>
                    <a:pt x="67" y="208"/>
                  </a:lnTo>
                  <a:lnTo>
                    <a:pt x="59" y="208"/>
                  </a:lnTo>
                  <a:lnTo>
                    <a:pt x="40" y="208"/>
                  </a:lnTo>
                  <a:lnTo>
                    <a:pt x="40" y="305"/>
                  </a:lnTo>
                  <a:lnTo>
                    <a:pt x="0" y="305"/>
                  </a:lnTo>
                  <a:lnTo>
                    <a:pt x="0" y="49"/>
                  </a:lnTo>
                  <a:lnTo>
                    <a:pt x="59" y="49"/>
                  </a:lnTo>
                  <a:lnTo>
                    <a:pt x="67" y="49"/>
                  </a:lnTo>
                  <a:lnTo>
                    <a:pt x="73" y="50"/>
                  </a:lnTo>
                  <a:lnTo>
                    <a:pt x="79" y="51"/>
                  </a:lnTo>
                  <a:lnTo>
                    <a:pt x="86" y="53"/>
                  </a:lnTo>
                  <a:lnTo>
                    <a:pt x="88" y="54"/>
                  </a:lnTo>
                  <a:lnTo>
                    <a:pt x="91" y="55"/>
                  </a:lnTo>
                  <a:lnTo>
                    <a:pt x="95" y="58"/>
                  </a:lnTo>
                  <a:lnTo>
                    <a:pt x="100" y="61"/>
                  </a:lnTo>
                  <a:lnTo>
                    <a:pt x="104" y="64"/>
                  </a:lnTo>
                  <a:lnTo>
                    <a:pt x="108" y="69"/>
                  </a:lnTo>
                  <a:lnTo>
                    <a:pt x="111" y="74"/>
                  </a:lnTo>
                  <a:lnTo>
                    <a:pt x="113" y="79"/>
                  </a:lnTo>
                  <a:lnTo>
                    <a:pt x="115" y="85"/>
                  </a:lnTo>
                  <a:lnTo>
                    <a:pt x="116" y="91"/>
                  </a:lnTo>
                  <a:lnTo>
                    <a:pt x="118" y="97"/>
                  </a:lnTo>
                  <a:lnTo>
                    <a:pt x="118" y="105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70212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62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37CA7EA9-37B5-4CBA-8F0E-447EE3616714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 dirty="0"/>
              <a:t>Presentation name / Auth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8926241" y="6457888"/>
              <a:ext cx="1836890" cy="211223"/>
            </a:xfrm>
            <a:custGeom>
              <a:avLst/>
              <a:gdLst>
                <a:gd name="T0" fmla="*/ 1878 w 1948"/>
                <a:gd name="T1" fmla="*/ 222 h 224"/>
                <a:gd name="T2" fmla="*/ 1753 w 1948"/>
                <a:gd name="T3" fmla="*/ 182 h 224"/>
                <a:gd name="T4" fmla="*/ 1787 w 1948"/>
                <a:gd name="T5" fmla="*/ 182 h 224"/>
                <a:gd name="T6" fmla="*/ 1817 w 1948"/>
                <a:gd name="T7" fmla="*/ 193 h 224"/>
                <a:gd name="T8" fmla="*/ 1769 w 1948"/>
                <a:gd name="T9" fmla="*/ 224 h 224"/>
                <a:gd name="T10" fmla="*/ 1720 w 1948"/>
                <a:gd name="T11" fmla="*/ 193 h 224"/>
                <a:gd name="T12" fmla="*/ 1640 w 1948"/>
                <a:gd name="T13" fmla="*/ 2 h 224"/>
                <a:gd name="T14" fmla="*/ 1516 w 1948"/>
                <a:gd name="T15" fmla="*/ 95 h 224"/>
                <a:gd name="T16" fmla="*/ 1577 w 1948"/>
                <a:gd name="T17" fmla="*/ 222 h 224"/>
                <a:gd name="T18" fmla="*/ 1516 w 1948"/>
                <a:gd name="T19" fmla="*/ 95 h 224"/>
                <a:gd name="T20" fmla="*/ 1340 w 1948"/>
                <a:gd name="T21" fmla="*/ 2 h 224"/>
                <a:gd name="T22" fmla="*/ 1335 w 1948"/>
                <a:gd name="T23" fmla="*/ 190 h 224"/>
                <a:gd name="T24" fmla="*/ 1159 w 1948"/>
                <a:gd name="T25" fmla="*/ 41 h 224"/>
                <a:gd name="T26" fmla="*/ 1132 w 1948"/>
                <a:gd name="T27" fmla="*/ 222 h 224"/>
                <a:gd name="T28" fmla="*/ 1020 w 1948"/>
                <a:gd name="T29" fmla="*/ 108 h 224"/>
                <a:gd name="T30" fmla="*/ 1053 w 1948"/>
                <a:gd name="T31" fmla="*/ 55 h 224"/>
                <a:gd name="T32" fmla="*/ 1088 w 1948"/>
                <a:gd name="T33" fmla="*/ 57 h 224"/>
                <a:gd name="T34" fmla="*/ 1068 w 1948"/>
                <a:gd name="T35" fmla="*/ 131 h 224"/>
                <a:gd name="T36" fmla="*/ 985 w 1948"/>
                <a:gd name="T37" fmla="*/ 222 h 224"/>
                <a:gd name="T38" fmla="*/ 1075 w 1948"/>
                <a:gd name="T39" fmla="*/ 17 h 224"/>
                <a:gd name="T40" fmla="*/ 919 w 1948"/>
                <a:gd name="T41" fmla="*/ 1 h 224"/>
                <a:gd name="T42" fmla="*/ 957 w 1948"/>
                <a:gd name="T43" fmla="*/ 42 h 224"/>
                <a:gd name="T44" fmla="*/ 921 w 1948"/>
                <a:gd name="T45" fmla="*/ 36 h 224"/>
                <a:gd name="T46" fmla="*/ 891 w 1948"/>
                <a:gd name="T47" fmla="*/ 53 h 224"/>
                <a:gd name="T48" fmla="*/ 948 w 1948"/>
                <a:gd name="T49" fmla="*/ 131 h 224"/>
                <a:gd name="T50" fmla="*/ 952 w 1948"/>
                <a:gd name="T51" fmla="*/ 202 h 224"/>
                <a:gd name="T52" fmla="*/ 896 w 1948"/>
                <a:gd name="T53" fmla="*/ 223 h 224"/>
                <a:gd name="T54" fmla="*/ 856 w 1948"/>
                <a:gd name="T55" fmla="*/ 182 h 224"/>
                <a:gd name="T56" fmla="*/ 893 w 1948"/>
                <a:gd name="T57" fmla="*/ 188 h 224"/>
                <a:gd name="T58" fmla="*/ 924 w 1948"/>
                <a:gd name="T59" fmla="*/ 171 h 224"/>
                <a:gd name="T60" fmla="*/ 867 w 1948"/>
                <a:gd name="T61" fmla="*/ 93 h 224"/>
                <a:gd name="T62" fmla="*/ 864 w 1948"/>
                <a:gd name="T63" fmla="*/ 22 h 224"/>
                <a:gd name="T64" fmla="*/ 761 w 1948"/>
                <a:gd name="T65" fmla="*/ 2 h 224"/>
                <a:gd name="T66" fmla="*/ 787 w 1948"/>
                <a:gd name="T67" fmla="*/ 191 h 224"/>
                <a:gd name="T68" fmla="*/ 830 w 1948"/>
                <a:gd name="T69" fmla="*/ 169 h 224"/>
                <a:gd name="T70" fmla="*/ 800 w 1948"/>
                <a:gd name="T71" fmla="*/ 221 h 224"/>
                <a:gd name="T72" fmla="*/ 740 w 1948"/>
                <a:gd name="T73" fmla="*/ 211 h 224"/>
                <a:gd name="T74" fmla="*/ 761 w 1948"/>
                <a:gd name="T75" fmla="*/ 2 h 224"/>
                <a:gd name="T76" fmla="*/ 635 w 1948"/>
                <a:gd name="T77" fmla="*/ 222 h 224"/>
                <a:gd name="T78" fmla="*/ 576 w 1948"/>
                <a:gd name="T79" fmla="*/ 222 h 224"/>
                <a:gd name="T80" fmla="*/ 452 w 1948"/>
                <a:gd name="T81" fmla="*/ 191 h 224"/>
                <a:gd name="T82" fmla="*/ 478 w 1948"/>
                <a:gd name="T83" fmla="*/ 53 h 224"/>
                <a:gd name="T84" fmla="*/ 446 w 1948"/>
                <a:gd name="T85" fmla="*/ 36 h 224"/>
                <a:gd name="T86" fmla="*/ 410 w 1948"/>
                <a:gd name="T87" fmla="*/ 32 h 224"/>
                <a:gd name="T88" fmla="*/ 460 w 1948"/>
                <a:gd name="T89" fmla="*/ 0 h 224"/>
                <a:gd name="T90" fmla="*/ 509 w 1948"/>
                <a:gd name="T91" fmla="*/ 32 h 224"/>
                <a:gd name="T92" fmla="*/ 504 w 1948"/>
                <a:gd name="T93" fmla="*/ 202 h 224"/>
                <a:gd name="T94" fmla="*/ 447 w 1948"/>
                <a:gd name="T95" fmla="*/ 223 h 224"/>
                <a:gd name="T96" fmla="*/ 408 w 1948"/>
                <a:gd name="T97" fmla="*/ 182 h 224"/>
                <a:gd name="T98" fmla="*/ 303 w 1948"/>
                <a:gd name="T99" fmla="*/ 2 h 224"/>
                <a:gd name="T100" fmla="*/ 342 w 1948"/>
                <a:gd name="T101" fmla="*/ 222 h 224"/>
                <a:gd name="T102" fmla="*/ 183 w 1948"/>
                <a:gd name="T103" fmla="*/ 41 h 224"/>
                <a:gd name="T104" fmla="*/ 155 w 1948"/>
                <a:gd name="T105" fmla="*/ 222 h 224"/>
                <a:gd name="T106" fmla="*/ 34 w 1948"/>
                <a:gd name="T107" fmla="*/ 102 h 224"/>
                <a:gd name="T108" fmla="*/ 68 w 1948"/>
                <a:gd name="T109" fmla="*/ 56 h 224"/>
                <a:gd name="T110" fmla="*/ 72 w 1948"/>
                <a:gd name="T111" fmla="*/ 222 h 224"/>
                <a:gd name="T112" fmla="*/ 56 w 1948"/>
                <a:gd name="T113" fmla="*/ 134 h 224"/>
                <a:gd name="T114" fmla="*/ 52 w 1948"/>
                <a:gd name="T115" fmla="*/ 2 h 224"/>
                <a:gd name="T116" fmla="*/ 99 w 1948"/>
                <a:gd name="T117" fmla="*/ 31 h 224"/>
                <a:gd name="T118" fmla="*/ 94 w 1948"/>
                <a:gd name="T119" fmla="*/ 104 h 224"/>
                <a:gd name="T120" fmla="*/ 102 w 1948"/>
                <a:gd name="T121" fmla="*/ 16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8" h="224">
                  <a:moveTo>
                    <a:pt x="1842" y="2"/>
                  </a:moveTo>
                  <a:lnTo>
                    <a:pt x="1948" y="2"/>
                  </a:lnTo>
                  <a:lnTo>
                    <a:pt x="1948" y="34"/>
                  </a:lnTo>
                  <a:lnTo>
                    <a:pt x="1912" y="34"/>
                  </a:lnTo>
                  <a:lnTo>
                    <a:pt x="1912" y="222"/>
                  </a:lnTo>
                  <a:lnTo>
                    <a:pt x="1878" y="222"/>
                  </a:lnTo>
                  <a:lnTo>
                    <a:pt x="1878" y="34"/>
                  </a:lnTo>
                  <a:lnTo>
                    <a:pt x="1842" y="34"/>
                  </a:lnTo>
                  <a:lnTo>
                    <a:pt x="1842" y="2"/>
                  </a:lnTo>
                  <a:close/>
                  <a:moveTo>
                    <a:pt x="1752" y="2"/>
                  </a:moveTo>
                  <a:lnTo>
                    <a:pt x="1752" y="171"/>
                  </a:lnTo>
                  <a:lnTo>
                    <a:pt x="1753" y="182"/>
                  </a:lnTo>
                  <a:lnTo>
                    <a:pt x="1756" y="188"/>
                  </a:lnTo>
                  <a:lnTo>
                    <a:pt x="1763" y="191"/>
                  </a:lnTo>
                  <a:lnTo>
                    <a:pt x="1770" y="194"/>
                  </a:lnTo>
                  <a:lnTo>
                    <a:pt x="1778" y="191"/>
                  </a:lnTo>
                  <a:lnTo>
                    <a:pt x="1783" y="188"/>
                  </a:lnTo>
                  <a:lnTo>
                    <a:pt x="1787" y="182"/>
                  </a:lnTo>
                  <a:lnTo>
                    <a:pt x="1788" y="171"/>
                  </a:lnTo>
                  <a:lnTo>
                    <a:pt x="1788" y="2"/>
                  </a:lnTo>
                  <a:lnTo>
                    <a:pt x="1821" y="2"/>
                  </a:lnTo>
                  <a:lnTo>
                    <a:pt x="1821" y="169"/>
                  </a:lnTo>
                  <a:lnTo>
                    <a:pt x="1820" y="182"/>
                  </a:lnTo>
                  <a:lnTo>
                    <a:pt x="1817" y="193"/>
                  </a:lnTo>
                  <a:lnTo>
                    <a:pt x="1814" y="202"/>
                  </a:lnTo>
                  <a:lnTo>
                    <a:pt x="1807" y="211"/>
                  </a:lnTo>
                  <a:lnTo>
                    <a:pt x="1800" y="217"/>
                  </a:lnTo>
                  <a:lnTo>
                    <a:pt x="1791" y="221"/>
                  </a:lnTo>
                  <a:lnTo>
                    <a:pt x="1781" y="224"/>
                  </a:lnTo>
                  <a:lnTo>
                    <a:pt x="1769" y="224"/>
                  </a:lnTo>
                  <a:lnTo>
                    <a:pt x="1757" y="224"/>
                  </a:lnTo>
                  <a:lnTo>
                    <a:pt x="1747" y="221"/>
                  </a:lnTo>
                  <a:lnTo>
                    <a:pt x="1737" y="217"/>
                  </a:lnTo>
                  <a:lnTo>
                    <a:pt x="1731" y="211"/>
                  </a:lnTo>
                  <a:lnTo>
                    <a:pt x="1725" y="202"/>
                  </a:lnTo>
                  <a:lnTo>
                    <a:pt x="1720" y="193"/>
                  </a:lnTo>
                  <a:lnTo>
                    <a:pt x="1718" y="182"/>
                  </a:lnTo>
                  <a:lnTo>
                    <a:pt x="1717" y="169"/>
                  </a:lnTo>
                  <a:lnTo>
                    <a:pt x="1717" y="2"/>
                  </a:lnTo>
                  <a:lnTo>
                    <a:pt x="1752" y="2"/>
                  </a:lnTo>
                  <a:close/>
                  <a:moveTo>
                    <a:pt x="1605" y="2"/>
                  </a:moveTo>
                  <a:lnTo>
                    <a:pt x="1640" y="2"/>
                  </a:lnTo>
                  <a:lnTo>
                    <a:pt x="1640" y="190"/>
                  </a:lnTo>
                  <a:lnTo>
                    <a:pt x="1696" y="190"/>
                  </a:lnTo>
                  <a:lnTo>
                    <a:pt x="1696" y="222"/>
                  </a:lnTo>
                  <a:lnTo>
                    <a:pt x="1605" y="222"/>
                  </a:lnTo>
                  <a:lnTo>
                    <a:pt x="1605" y="2"/>
                  </a:lnTo>
                  <a:close/>
                  <a:moveTo>
                    <a:pt x="1516" y="95"/>
                  </a:moveTo>
                  <a:lnTo>
                    <a:pt x="1564" y="95"/>
                  </a:lnTo>
                  <a:lnTo>
                    <a:pt x="1564" y="126"/>
                  </a:lnTo>
                  <a:lnTo>
                    <a:pt x="1516" y="126"/>
                  </a:lnTo>
                  <a:lnTo>
                    <a:pt x="1516" y="190"/>
                  </a:lnTo>
                  <a:lnTo>
                    <a:pt x="1577" y="190"/>
                  </a:lnTo>
                  <a:lnTo>
                    <a:pt x="1577" y="222"/>
                  </a:lnTo>
                  <a:lnTo>
                    <a:pt x="1482" y="222"/>
                  </a:lnTo>
                  <a:lnTo>
                    <a:pt x="1482" y="2"/>
                  </a:lnTo>
                  <a:lnTo>
                    <a:pt x="1577" y="2"/>
                  </a:lnTo>
                  <a:lnTo>
                    <a:pt x="1577" y="34"/>
                  </a:lnTo>
                  <a:lnTo>
                    <a:pt x="1516" y="34"/>
                  </a:lnTo>
                  <a:lnTo>
                    <a:pt x="1516" y="95"/>
                  </a:lnTo>
                  <a:close/>
                  <a:moveTo>
                    <a:pt x="1400" y="182"/>
                  </a:moveTo>
                  <a:lnTo>
                    <a:pt x="1426" y="2"/>
                  </a:lnTo>
                  <a:lnTo>
                    <a:pt x="1458" y="2"/>
                  </a:lnTo>
                  <a:lnTo>
                    <a:pt x="1424" y="222"/>
                  </a:lnTo>
                  <a:lnTo>
                    <a:pt x="1374" y="222"/>
                  </a:lnTo>
                  <a:lnTo>
                    <a:pt x="1340" y="2"/>
                  </a:lnTo>
                  <a:lnTo>
                    <a:pt x="1374" y="2"/>
                  </a:lnTo>
                  <a:lnTo>
                    <a:pt x="1400" y="182"/>
                  </a:lnTo>
                  <a:close/>
                  <a:moveTo>
                    <a:pt x="1245" y="2"/>
                  </a:moveTo>
                  <a:lnTo>
                    <a:pt x="1279" y="2"/>
                  </a:lnTo>
                  <a:lnTo>
                    <a:pt x="1279" y="190"/>
                  </a:lnTo>
                  <a:lnTo>
                    <a:pt x="1335" y="190"/>
                  </a:lnTo>
                  <a:lnTo>
                    <a:pt x="1335" y="222"/>
                  </a:lnTo>
                  <a:lnTo>
                    <a:pt x="1245" y="222"/>
                  </a:lnTo>
                  <a:lnTo>
                    <a:pt x="1245" y="2"/>
                  </a:lnTo>
                  <a:close/>
                  <a:moveTo>
                    <a:pt x="1142" y="152"/>
                  </a:moveTo>
                  <a:lnTo>
                    <a:pt x="1176" y="152"/>
                  </a:lnTo>
                  <a:lnTo>
                    <a:pt x="1159" y="41"/>
                  </a:lnTo>
                  <a:lnTo>
                    <a:pt x="1142" y="152"/>
                  </a:lnTo>
                  <a:close/>
                  <a:moveTo>
                    <a:pt x="1221" y="222"/>
                  </a:moveTo>
                  <a:lnTo>
                    <a:pt x="1186" y="222"/>
                  </a:lnTo>
                  <a:lnTo>
                    <a:pt x="1180" y="182"/>
                  </a:lnTo>
                  <a:lnTo>
                    <a:pt x="1138" y="182"/>
                  </a:lnTo>
                  <a:lnTo>
                    <a:pt x="1132" y="222"/>
                  </a:lnTo>
                  <a:lnTo>
                    <a:pt x="1101" y="222"/>
                  </a:lnTo>
                  <a:lnTo>
                    <a:pt x="1136" y="2"/>
                  </a:lnTo>
                  <a:lnTo>
                    <a:pt x="1185" y="2"/>
                  </a:lnTo>
                  <a:lnTo>
                    <a:pt x="1221" y="222"/>
                  </a:lnTo>
                  <a:close/>
                  <a:moveTo>
                    <a:pt x="1020" y="34"/>
                  </a:moveTo>
                  <a:lnTo>
                    <a:pt x="1020" y="108"/>
                  </a:lnTo>
                  <a:lnTo>
                    <a:pt x="1036" y="108"/>
                  </a:lnTo>
                  <a:lnTo>
                    <a:pt x="1044" y="107"/>
                  </a:lnTo>
                  <a:lnTo>
                    <a:pt x="1049" y="104"/>
                  </a:lnTo>
                  <a:lnTo>
                    <a:pt x="1052" y="97"/>
                  </a:lnTo>
                  <a:lnTo>
                    <a:pt x="1053" y="88"/>
                  </a:lnTo>
                  <a:lnTo>
                    <a:pt x="1053" y="55"/>
                  </a:lnTo>
                  <a:lnTo>
                    <a:pt x="1052" y="44"/>
                  </a:lnTo>
                  <a:lnTo>
                    <a:pt x="1049" y="38"/>
                  </a:lnTo>
                  <a:lnTo>
                    <a:pt x="1044" y="35"/>
                  </a:lnTo>
                  <a:lnTo>
                    <a:pt x="1036" y="34"/>
                  </a:lnTo>
                  <a:lnTo>
                    <a:pt x="1020" y="34"/>
                  </a:lnTo>
                  <a:close/>
                  <a:moveTo>
                    <a:pt x="1088" y="57"/>
                  </a:moveTo>
                  <a:lnTo>
                    <a:pt x="1088" y="86"/>
                  </a:lnTo>
                  <a:lnTo>
                    <a:pt x="1087" y="97"/>
                  </a:lnTo>
                  <a:lnTo>
                    <a:pt x="1085" y="109"/>
                  </a:lnTo>
                  <a:lnTo>
                    <a:pt x="1081" y="117"/>
                  </a:lnTo>
                  <a:lnTo>
                    <a:pt x="1075" y="126"/>
                  </a:lnTo>
                  <a:lnTo>
                    <a:pt x="1068" y="131"/>
                  </a:lnTo>
                  <a:lnTo>
                    <a:pt x="1059" y="136"/>
                  </a:lnTo>
                  <a:lnTo>
                    <a:pt x="1049" y="139"/>
                  </a:lnTo>
                  <a:lnTo>
                    <a:pt x="1036" y="140"/>
                  </a:lnTo>
                  <a:lnTo>
                    <a:pt x="1020" y="140"/>
                  </a:lnTo>
                  <a:lnTo>
                    <a:pt x="1020" y="222"/>
                  </a:lnTo>
                  <a:lnTo>
                    <a:pt x="985" y="222"/>
                  </a:lnTo>
                  <a:lnTo>
                    <a:pt x="985" y="2"/>
                  </a:lnTo>
                  <a:lnTo>
                    <a:pt x="1036" y="2"/>
                  </a:lnTo>
                  <a:lnTo>
                    <a:pt x="1049" y="3"/>
                  </a:lnTo>
                  <a:lnTo>
                    <a:pt x="1059" y="6"/>
                  </a:lnTo>
                  <a:lnTo>
                    <a:pt x="1068" y="11"/>
                  </a:lnTo>
                  <a:lnTo>
                    <a:pt x="1075" y="17"/>
                  </a:lnTo>
                  <a:lnTo>
                    <a:pt x="1081" y="24"/>
                  </a:lnTo>
                  <a:lnTo>
                    <a:pt x="1085" y="34"/>
                  </a:lnTo>
                  <a:lnTo>
                    <a:pt x="1087" y="44"/>
                  </a:lnTo>
                  <a:lnTo>
                    <a:pt x="1088" y="57"/>
                  </a:lnTo>
                  <a:close/>
                  <a:moveTo>
                    <a:pt x="907" y="0"/>
                  </a:moveTo>
                  <a:lnTo>
                    <a:pt x="919" y="1"/>
                  </a:lnTo>
                  <a:lnTo>
                    <a:pt x="929" y="4"/>
                  </a:lnTo>
                  <a:lnTo>
                    <a:pt x="938" y="9"/>
                  </a:lnTo>
                  <a:lnTo>
                    <a:pt x="945" y="15"/>
                  </a:lnTo>
                  <a:lnTo>
                    <a:pt x="951" y="22"/>
                  </a:lnTo>
                  <a:lnTo>
                    <a:pt x="955" y="32"/>
                  </a:lnTo>
                  <a:lnTo>
                    <a:pt x="957" y="42"/>
                  </a:lnTo>
                  <a:lnTo>
                    <a:pt x="958" y="55"/>
                  </a:lnTo>
                  <a:lnTo>
                    <a:pt x="958" y="62"/>
                  </a:lnTo>
                  <a:lnTo>
                    <a:pt x="925" y="62"/>
                  </a:lnTo>
                  <a:lnTo>
                    <a:pt x="925" y="53"/>
                  </a:lnTo>
                  <a:lnTo>
                    <a:pt x="924" y="43"/>
                  </a:lnTo>
                  <a:lnTo>
                    <a:pt x="921" y="36"/>
                  </a:lnTo>
                  <a:lnTo>
                    <a:pt x="916" y="33"/>
                  </a:lnTo>
                  <a:lnTo>
                    <a:pt x="908" y="32"/>
                  </a:lnTo>
                  <a:lnTo>
                    <a:pt x="901" y="33"/>
                  </a:lnTo>
                  <a:lnTo>
                    <a:pt x="896" y="36"/>
                  </a:lnTo>
                  <a:lnTo>
                    <a:pt x="892" y="43"/>
                  </a:lnTo>
                  <a:lnTo>
                    <a:pt x="891" y="53"/>
                  </a:lnTo>
                  <a:lnTo>
                    <a:pt x="895" y="69"/>
                  </a:lnTo>
                  <a:lnTo>
                    <a:pt x="902" y="81"/>
                  </a:lnTo>
                  <a:lnTo>
                    <a:pt x="912" y="93"/>
                  </a:lnTo>
                  <a:lnTo>
                    <a:pt x="925" y="105"/>
                  </a:lnTo>
                  <a:lnTo>
                    <a:pt x="937" y="116"/>
                  </a:lnTo>
                  <a:lnTo>
                    <a:pt x="948" y="131"/>
                  </a:lnTo>
                  <a:lnTo>
                    <a:pt x="956" y="148"/>
                  </a:lnTo>
                  <a:lnTo>
                    <a:pt x="958" y="158"/>
                  </a:lnTo>
                  <a:lnTo>
                    <a:pt x="958" y="169"/>
                  </a:lnTo>
                  <a:lnTo>
                    <a:pt x="958" y="182"/>
                  </a:lnTo>
                  <a:lnTo>
                    <a:pt x="955" y="193"/>
                  </a:lnTo>
                  <a:lnTo>
                    <a:pt x="952" y="202"/>
                  </a:lnTo>
                  <a:lnTo>
                    <a:pt x="945" y="211"/>
                  </a:lnTo>
                  <a:lnTo>
                    <a:pt x="938" y="216"/>
                  </a:lnTo>
                  <a:lnTo>
                    <a:pt x="929" y="221"/>
                  </a:lnTo>
                  <a:lnTo>
                    <a:pt x="919" y="223"/>
                  </a:lnTo>
                  <a:lnTo>
                    <a:pt x="907" y="224"/>
                  </a:lnTo>
                  <a:lnTo>
                    <a:pt x="896" y="223"/>
                  </a:lnTo>
                  <a:lnTo>
                    <a:pt x="885" y="221"/>
                  </a:lnTo>
                  <a:lnTo>
                    <a:pt x="875" y="216"/>
                  </a:lnTo>
                  <a:lnTo>
                    <a:pt x="869" y="211"/>
                  </a:lnTo>
                  <a:lnTo>
                    <a:pt x="863" y="202"/>
                  </a:lnTo>
                  <a:lnTo>
                    <a:pt x="859" y="193"/>
                  </a:lnTo>
                  <a:lnTo>
                    <a:pt x="856" y="182"/>
                  </a:lnTo>
                  <a:lnTo>
                    <a:pt x="855" y="169"/>
                  </a:lnTo>
                  <a:lnTo>
                    <a:pt x="855" y="156"/>
                  </a:lnTo>
                  <a:lnTo>
                    <a:pt x="888" y="156"/>
                  </a:lnTo>
                  <a:lnTo>
                    <a:pt x="888" y="171"/>
                  </a:lnTo>
                  <a:lnTo>
                    <a:pt x="889" y="181"/>
                  </a:lnTo>
                  <a:lnTo>
                    <a:pt x="893" y="188"/>
                  </a:lnTo>
                  <a:lnTo>
                    <a:pt x="899" y="191"/>
                  </a:lnTo>
                  <a:lnTo>
                    <a:pt x="906" y="193"/>
                  </a:lnTo>
                  <a:lnTo>
                    <a:pt x="914" y="191"/>
                  </a:lnTo>
                  <a:lnTo>
                    <a:pt x="919" y="188"/>
                  </a:lnTo>
                  <a:lnTo>
                    <a:pt x="923" y="181"/>
                  </a:lnTo>
                  <a:lnTo>
                    <a:pt x="924" y="171"/>
                  </a:lnTo>
                  <a:lnTo>
                    <a:pt x="921" y="157"/>
                  </a:lnTo>
                  <a:lnTo>
                    <a:pt x="914" y="143"/>
                  </a:lnTo>
                  <a:lnTo>
                    <a:pt x="903" y="131"/>
                  </a:lnTo>
                  <a:lnTo>
                    <a:pt x="890" y="120"/>
                  </a:lnTo>
                  <a:lnTo>
                    <a:pt x="878" y="108"/>
                  </a:lnTo>
                  <a:lnTo>
                    <a:pt x="867" y="93"/>
                  </a:lnTo>
                  <a:lnTo>
                    <a:pt x="860" y="76"/>
                  </a:lnTo>
                  <a:lnTo>
                    <a:pt x="857" y="67"/>
                  </a:lnTo>
                  <a:lnTo>
                    <a:pt x="856" y="55"/>
                  </a:lnTo>
                  <a:lnTo>
                    <a:pt x="857" y="42"/>
                  </a:lnTo>
                  <a:lnTo>
                    <a:pt x="860" y="32"/>
                  </a:lnTo>
                  <a:lnTo>
                    <a:pt x="864" y="22"/>
                  </a:lnTo>
                  <a:lnTo>
                    <a:pt x="869" y="15"/>
                  </a:lnTo>
                  <a:lnTo>
                    <a:pt x="877" y="9"/>
                  </a:lnTo>
                  <a:lnTo>
                    <a:pt x="885" y="4"/>
                  </a:lnTo>
                  <a:lnTo>
                    <a:pt x="896" y="1"/>
                  </a:lnTo>
                  <a:lnTo>
                    <a:pt x="907" y="0"/>
                  </a:lnTo>
                  <a:close/>
                  <a:moveTo>
                    <a:pt x="761" y="2"/>
                  </a:moveTo>
                  <a:lnTo>
                    <a:pt x="761" y="171"/>
                  </a:lnTo>
                  <a:lnTo>
                    <a:pt x="762" y="182"/>
                  </a:lnTo>
                  <a:lnTo>
                    <a:pt x="767" y="188"/>
                  </a:lnTo>
                  <a:lnTo>
                    <a:pt x="772" y="191"/>
                  </a:lnTo>
                  <a:lnTo>
                    <a:pt x="779" y="194"/>
                  </a:lnTo>
                  <a:lnTo>
                    <a:pt x="787" y="191"/>
                  </a:lnTo>
                  <a:lnTo>
                    <a:pt x="792" y="188"/>
                  </a:lnTo>
                  <a:lnTo>
                    <a:pt x="796" y="182"/>
                  </a:lnTo>
                  <a:lnTo>
                    <a:pt x="797" y="171"/>
                  </a:lnTo>
                  <a:lnTo>
                    <a:pt x="797" y="2"/>
                  </a:lnTo>
                  <a:lnTo>
                    <a:pt x="830" y="2"/>
                  </a:lnTo>
                  <a:lnTo>
                    <a:pt x="830" y="169"/>
                  </a:lnTo>
                  <a:lnTo>
                    <a:pt x="829" y="182"/>
                  </a:lnTo>
                  <a:lnTo>
                    <a:pt x="827" y="193"/>
                  </a:lnTo>
                  <a:lnTo>
                    <a:pt x="823" y="202"/>
                  </a:lnTo>
                  <a:lnTo>
                    <a:pt x="816" y="211"/>
                  </a:lnTo>
                  <a:lnTo>
                    <a:pt x="810" y="217"/>
                  </a:lnTo>
                  <a:lnTo>
                    <a:pt x="800" y="221"/>
                  </a:lnTo>
                  <a:lnTo>
                    <a:pt x="790" y="224"/>
                  </a:lnTo>
                  <a:lnTo>
                    <a:pt x="778" y="224"/>
                  </a:lnTo>
                  <a:lnTo>
                    <a:pt x="767" y="224"/>
                  </a:lnTo>
                  <a:lnTo>
                    <a:pt x="756" y="221"/>
                  </a:lnTo>
                  <a:lnTo>
                    <a:pt x="748" y="217"/>
                  </a:lnTo>
                  <a:lnTo>
                    <a:pt x="740" y="211"/>
                  </a:lnTo>
                  <a:lnTo>
                    <a:pt x="735" y="202"/>
                  </a:lnTo>
                  <a:lnTo>
                    <a:pt x="731" y="193"/>
                  </a:lnTo>
                  <a:lnTo>
                    <a:pt x="727" y="182"/>
                  </a:lnTo>
                  <a:lnTo>
                    <a:pt x="727" y="169"/>
                  </a:lnTo>
                  <a:lnTo>
                    <a:pt x="727" y="2"/>
                  </a:lnTo>
                  <a:lnTo>
                    <a:pt x="761" y="2"/>
                  </a:lnTo>
                  <a:close/>
                  <a:moveTo>
                    <a:pt x="599" y="2"/>
                  </a:moveTo>
                  <a:lnTo>
                    <a:pt x="705" y="2"/>
                  </a:lnTo>
                  <a:lnTo>
                    <a:pt x="705" y="34"/>
                  </a:lnTo>
                  <a:lnTo>
                    <a:pt x="669" y="34"/>
                  </a:lnTo>
                  <a:lnTo>
                    <a:pt x="669" y="222"/>
                  </a:lnTo>
                  <a:lnTo>
                    <a:pt x="635" y="222"/>
                  </a:lnTo>
                  <a:lnTo>
                    <a:pt x="635" y="34"/>
                  </a:lnTo>
                  <a:lnTo>
                    <a:pt x="599" y="34"/>
                  </a:lnTo>
                  <a:lnTo>
                    <a:pt x="599" y="2"/>
                  </a:lnTo>
                  <a:close/>
                  <a:moveTo>
                    <a:pt x="542" y="2"/>
                  </a:moveTo>
                  <a:lnTo>
                    <a:pt x="576" y="2"/>
                  </a:lnTo>
                  <a:lnTo>
                    <a:pt x="576" y="222"/>
                  </a:lnTo>
                  <a:lnTo>
                    <a:pt x="542" y="222"/>
                  </a:lnTo>
                  <a:lnTo>
                    <a:pt x="542" y="2"/>
                  </a:lnTo>
                  <a:close/>
                  <a:moveTo>
                    <a:pt x="442" y="171"/>
                  </a:moveTo>
                  <a:lnTo>
                    <a:pt x="443" y="182"/>
                  </a:lnTo>
                  <a:lnTo>
                    <a:pt x="446" y="188"/>
                  </a:lnTo>
                  <a:lnTo>
                    <a:pt x="452" y="191"/>
                  </a:lnTo>
                  <a:lnTo>
                    <a:pt x="460" y="194"/>
                  </a:lnTo>
                  <a:lnTo>
                    <a:pt x="467" y="191"/>
                  </a:lnTo>
                  <a:lnTo>
                    <a:pt x="473" y="188"/>
                  </a:lnTo>
                  <a:lnTo>
                    <a:pt x="476" y="182"/>
                  </a:lnTo>
                  <a:lnTo>
                    <a:pt x="478" y="171"/>
                  </a:lnTo>
                  <a:lnTo>
                    <a:pt x="478" y="53"/>
                  </a:lnTo>
                  <a:lnTo>
                    <a:pt x="476" y="43"/>
                  </a:lnTo>
                  <a:lnTo>
                    <a:pt x="473" y="36"/>
                  </a:lnTo>
                  <a:lnTo>
                    <a:pt x="467" y="33"/>
                  </a:lnTo>
                  <a:lnTo>
                    <a:pt x="460" y="32"/>
                  </a:lnTo>
                  <a:lnTo>
                    <a:pt x="452" y="33"/>
                  </a:lnTo>
                  <a:lnTo>
                    <a:pt x="446" y="36"/>
                  </a:lnTo>
                  <a:lnTo>
                    <a:pt x="443" y="43"/>
                  </a:lnTo>
                  <a:lnTo>
                    <a:pt x="442" y="53"/>
                  </a:lnTo>
                  <a:lnTo>
                    <a:pt x="442" y="171"/>
                  </a:lnTo>
                  <a:close/>
                  <a:moveTo>
                    <a:pt x="407" y="55"/>
                  </a:moveTo>
                  <a:lnTo>
                    <a:pt x="408" y="42"/>
                  </a:lnTo>
                  <a:lnTo>
                    <a:pt x="410" y="32"/>
                  </a:lnTo>
                  <a:lnTo>
                    <a:pt x="414" y="22"/>
                  </a:lnTo>
                  <a:lnTo>
                    <a:pt x="421" y="15"/>
                  </a:lnTo>
                  <a:lnTo>
                    <a:pt x="428" y="9"/>
                  </a:lnTo>
                  <a:lnTo>
                    <a:pt x="437" y="4"/>
                  </a:lnTo>
                  <a:lnTo>
                    <a:pt x="447" y="1"/>
                  </a:lnTo>
                  <a:lnTo>
                    <a:pt x="460" y="0"/>
                  </a:lnTo>
                  <a:lnTo>
                    <a:pt x="471" y="1"/>
                  </a:lnTo>
                  <a:lnTo>
                    <a:pt x="482" y="4"/>
                  </a:lnTo>
                  <a:lnTo>
                    <a:pt x="491" y="9"/>
                  </a:lnTo>
                  <a:lnTo>
                    <a:pt x="498" y="15"/>
                  </a:lnTo>
                  <a:lnTo>
                    <a:pt x="504" y="22"/>
                  </a:lnTo>
                  <a:lnTo>
                    <a:pt x="509" y="32"/>
                  </a:lnTo>
                  <a:lnTo>
                    <a:pt x="511" y="42"/>
                  </a:lnTo>
                  <a:lnTo>
                    <a:pt x="512" y="55"/>
                  </a:lnTo>
                  <a:lnTo>
                    <a:pt x="512" y="169"/>
                  </a:lnTo>
                  <a:lnTo>
                    <a:pt x="511" y="182"/>
                  </a:lnTo>
                  <a:lnTo>
                    <a:pt x="509" y="193"/>
                  </a:lnTo>
                  <a:lnTo>
                    <a:pt x="504" y="202"/>
                  </a:lnTo>
                  <a:lnTo>
                    <a:pt x="498" y="211"/>
                  </a:lnTo>
                  <a:lnTo>
                    <a:pt x="491" y="216"/>
                  </a:lnTo>
                  <a:lnTo>
                    <a:pt x="482" y="221"/>
                  </a:lnTo>
                  <a:lnTo>
                    <a:pt x="471" y="223"/>
                  </a:lnTo>
                  <a:lnTo>
                    <a:pt x="460" y="224"/>
                  </a:lnTo>
                  <a:lnTo>
                    <a:pt x="447" y="223"/>
                  </a:lnTo>
                  <a:lnTo>
                    <a:pt x="437" y="221"/>
                  </a:lnTo>
                  <a:lnTo>
                    <a:pt x="428" y="216"/>
                  </a:lnTo>
                  <a:lnTo>
                    <a:pt x="421" y="211"/>
                  </a:lnTo>
                  <a:lnTo>
                    <a:pt x="414" y="202"/>
                  </a:lnTo>
                  <a:lnTo>
                    <a:pt x="410" y="193"/>
                  </a:lnTo>
                  <a:lnTo>
                    <a:pt x="408" y="182"/>
                  </a:lnTo>
                  <a:lnTo>
                    <a:pt x="407" y="169"/>
                  </a:lnTo>
                  <a:lnTo>
                    <a:pt x="407" y="55"/>
                  </a:lnTo>
                  <a:close/>
                  <a:moveTo>
                    <a:pt x="303" y="222"/>
                  </a:moveTo>
                  <a:lnTo>
                    <a:pt x="268" y="222"/>
                  </a:lnTo>
                  <a:lnTo>
                    <a:pt x="268" y="2"/>
                  </a:lnTo>
                  <a:lnTo>
                    <a:pt x="303" y="2"/>
                  </a:lnTo>
                  <a:lnTo>
                    <a:pt x="303" y="96"/>
                  </a:lnTo>
                  <a:lnTo>
                    <a:pt x="342" y="96"/>
                  </a:lnTo>
                  <a:lnTo>
                    <a:pt x="342" y="2"/>
                  </a:lnTo>
                  <a:lnTo>
                    <a:pt x="377" y="2"/>
                  </a:lnTo>
                  <a:lnTo>
                    <a:pt x="377" y="222"/>
                  </a:lnTo>
                  <a:lnTo>
                    <a:pt x="342" y="222"/>
                  </a:lnTo>
                  <a:lnTo>
                    <a:pt x="342" y="128"/>
                  </a:lnTo>
                  <a:lnTo>
                    <a:pt x="303" y="128"/>
                  </a:lnTo>
                  <a:lnTo>
                    <a:pt x="303" y="222"/>
                  </a:lnTo>
                  <a:close/>
                  <a:moveTo>
                    <a:pt x="166" y="152"/>
                  </a:moveTo>
                  <a:lnTo>
                    <a:pt x="200" y="152"/>
                  </a:lnTo>
                  <a:lnTo>
                    <a:pt x="183" y="41"/>
                  </a:lnTo>
                  <a:lnTo>
                    <a:pt x="166" y="152"/>
                  </a:lnTo>
                  <a:close/>
                  <a:moveTo>
                    <a:pt x="245" y="222"/>
                  </a:moveTo>
                  <a:lnTo>
                    <a:pt x="210" y="222"/>
                  </a:lnTo>
                  <a:lnTo>
                    <a:pt x="204" y="182"/>
                  </a:lnTo>
                  <a:lnTo>
                    <a:pt x="162" y="182"/>
                  </a:lnTo>
                  <a:lnTo>
                    <a:pt x="155" y="222"/>
                  </a:lnTo>
                  <a:lnTo>
                    <a:pt x="124" y="222"/>
                  </a:lnTo>
                  <a:lnTo>
                    <a:pt x="160" y="2"/>
                  </a:lnTo>
                  <a:lnTo>
                    <a:pt x="209" y="2"/>
                  </a:lnTo>
                  <a:lnTo>
                    <a:pt x="245" y="222"/>
                  </a:lnTo>
                  <a:close/>
                  <a:moveTo>
                    <a:pt x="34" y="34"/>
                  </a:moveTo>
                  <a:lnTo>
                    <a:pt x="34" y="102"/>
                  </a:lnTo>
                  <a:lnTo>
                    <a:pt x="47" y="102"/>
                  </a:lnTo>
                  <a:lnTo>
                    <a:pt x="56" y="101"/>
                  </a:lnTo>
                  <a:lnTo>
                    <a:pt x="62" y="96"/>
                  </a:lnTo>
                  <a:lnTo>
                    <a:pt x="66" y="89"/>
                  </a:lnTo>
                  <a:lnTo>
                    <a:pt x="68" y="78"/>
                  </a:lnTo>
                  <a:lnTo>
                    <a:pt x="68" y="56"/>
                  </a:lnTo>
                  <a:lnTo>
                    <a:pt x="68" y="47"/>
                  </a:lnTo>
                  <a:lnTo>
                    <a:pt x="64" y="39"/>
                  </a:lnTo>
                  <a:lnTo>
                    <a:pt x="58" y="35"/>
                  </a:lnTo>
                  <a:lnTo>
                    <a:pt x="51" y="34"/>
                  </a:lnTo>
                  <a:lnTo>
                    <a:pt x="34" y="34"/>
                  </a:lnTo>
                  <a:close/>
                  <a:moveTo>
                    <a:pt x="72" y="222"/>
                  </a:moveTo>
                  <a:lnTo>
                    <a:pt x="70" y="213"/>
                  </a:lnTo>
                  <a:lnTo>
                    <a:pt x="69" y="195"/>
                  </a:lnTo>
                  <a:lnTo>
                    <a:pt x="69" y="161"/>
                  </a:lnTo>
                  <a:lnTo>
                    <a:pt x="68" y="147"/>
                  </a:lnTo>
                  <a:lnTo>
                    <a:pt x="63" y="139"/>
                  </a:lnTo>
                  <a:lnTo>
                    <a:pt x="56" y="134"/>
                  </a:lnTo>
                  <a:lnTo>
                    <a:pt x="45" y="132"/>
                  </a:lnTo>
                  <a:lnTo>
                    <a:pt x="34" y="132"/>
                  </a:lnTo>
                  <a:lnTo>
                    <a:pt x="34" y="222"/>
                  </a:lnTo>
                  <a:lnTo>
                    <a:pt x="0" y="222"/>
                  </a:lnTo>
                  <a:lnTo>
                    <a:pt x="0" y="2"/>
                  </a:lnTo>
                  <a:lnTo>
                    <a:pt x="52" y="2"/>
                  </a:lnTo>
                  <a:lnTo>
                    <a:pt x="64" y="3"/>
                  </a:lnTo>
                  <a:lnTo>
                    <a:pt x="75" y="5"/>
                  </a:lnTo>
                  <a:lnTo>
                    <a:pt x="83" y="10"/>
                  </a:lnTo>
                  <a:lnTo>
                    <a:pt x="91" y="15"/>
                  </a:lnTo>
                  <a:lnTo>
                    <a:pt x="96" y="22"/>
                  </a:lnTo>
                  <a:lnTo>
                    <a:pt x="99" y="31"/>
                  </a:lnTo>
                  <a:lnTo>
                    <a:pt x="101" y="41"/>
                  </a:lnTo>
                  <a:lnTo>
                    <a:pt x="102" y="53"/>
                  </a:lnTo>
                  <a:lnTo>
                    <a:pt x="102" y="70"/>
                  </a:lnTo>
                  <a:lnTo>
                    <a:pt x="101" y="86"/>
                  </a:lnTo>
                  <a:lnTo>
                    <a:pt x="97" y="98"/>
                  </a:lnTo>
                  <a:lnTo>
                    <a:pt x="94" y="104"/>
                  </a:lnTo>
                  <a:lnTo>
                    <a:pt x="90" y="108"/>
                  </a:lnTo>
                  <a:lnTo>
                    <a:pt x="80" y="114"/>
                  </a:lnTo>
                  <a:lnTo>
                    <a:pt x="91" y="122"/>
                  </a:lnTo>
                  <a:lnTo>
                    <a:pt x="98" y="132"/>
                  </a:lnTo>
                  <a:lnTo>
                    <a:pt x="101" y="146"/>
                  </a:lnTo>
                  <a:lnTo>
                    <a:pt x="102" y="162"/>
                  </a:lnTo>
                  <a:lnTo>
                    <a:pt x="102" y="196"/>
                  </a:lnTo>
                  <a:lnTo>
                    <a:pt x="103" y="209"/>
                  </a:lnTo>
                  <a:lnTo>
                    <a:pt x="107" y="222"/>
                  </a:lnTo>
                  <a:lnTo>
                    <a:pt x="72" y="2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78475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953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06E3372A-03D1-46CE-AA90-D0262C643495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44" name="Freeform 40"/>
            <p:cNvSpPr>
              <a:spLocks noEditPoints="1"/>
            </p:cNvSpPr>
            <p:nvPr userDrawn="1"/>
          </p:nvSpPr>
          <p:spPr bwMode="auto">
            <a:xfrm>
              <a:off x="8786797" y="6473684"/>
              <a:ext cx="2115771" cy="211200"/>
            </a:xfrm>
            <a:custGeom>
              <a:avLst/>
              <a:gdLst>
                <a:gd name="T0" fmla="*/ 2210 w 2245"/>
                <a:gd name="T1" fmla="*/ 221 h 224"/>
                <a:gd name="T2" fmla="*/ 2210 w 2245"/>
                <a:gd name="T3" fmla="*/ 2 h 224"/>
                <a:gd name="T4" fmla="*/ 2086 w 2245"/>
                <a:gd name="T5" fmla="*/ 221 h 224"/>
                <a:gd name="T6" fmla="*/ 1915 w 2245"/>
                <a:gd name="T7" fmla="*/ 221 h 224"/>
                <a:gd name="T8" fmla="*/ 1993 w 2245"/>
                <a:gd name="T9" fmla="*/ 2 h 224"/>
                <a:gd name="T10" fmla="*/ 1851 w 2245"/>
                <a:gd name="T11" fmla="*/ 221 h 224"/>
                <a:gd name="T12" fmla="*/ 1783 w 2245"/>
                <a:gd name="T13" fmla="*/ 221 h 224"/>
                <a:gd name="T14" fmla="*/ 1669 w 2245"/>
                <a:gd name="T15" fmla="*/ 221 h 224"/>
                <a:gd name="T16" fmla="*/ 1607 w 2245"/>
                <a:gd name="T17" fmla="*/ 2 h 224"/>
                <a:gd name="T18" fmla="*/ 1474 w 2245"/>
                <a:gd name="T19" fmla="*/ 180 h 224"/>
                <a:gd name="T20" fmla="*/ 1486 w 2245"/>
                <a:gd name="T21" fmla="*/ 192 h 224"/>
                <a:gd name="T22" fmla="*/ 1505 w 2245"/>
                <a:gd name="T23" fmla="*/ 185 h 224"/>
                <a:gd name="T24" fmla="*/ 1506 w 2245"/>
                <a:gd name="T25" fmla="*/ 42 h 224"/>
                <a:gd name="T26" fmla="*/ 1494 w 2245"/>
                <a:gd name="T27" fmla="*/ 30 h 224"/>
                <a:gd name="T28" fmla="*/ 1475 w 2245"/>
                <a:gd name="T29" fmla="*/ 39 h 224"/>
                <a:gd name="T30" fmla="*/ 1438 w 2245"/>
                <a:gd name="T31" fmla="*/ 48 h 224"/>
                <a:gd name="T32" fmla="*/ 1445 w 2245"/>
                <a:gd name="T33" fmla="*/ 22 h 224"/>
                <a:gd name="T34" fmla="*/ 1467 w 2245"/>
                <a:gd name="T35" fmla="*/ 3 h 224"/>
                <a:gd name="T36" fmla="*/ 1502 w 2245"/>
                <a:gd name="T37" fmla="*/ 0 h 224"/>
                <a:gd name="T38" fmla="*/ 1529 w 2245"/>
                <a:gd name="T39" fmla="*/ 13 h 224"/>
                <a:gd name="T40" fmla="*/ 1541 w 2245"/>
                <a:gd name="T41" fmla="*/ 42 h 224"/>
                <a:gd name="T42" fmla="*/ 1540 w 2245"/>
                <a:gd name="T43" fmla="*/ 187 h 224"/>
                <a:gd name="T44" fmla="*/ 1529 w 2245"/>
                <a:gd name="T45" fmla="*/ 209 h 224"/>
                <a:gd name="T46" fmla="*/ 1502 w 2245"/>
                <a:gd name="T47" fmla="*/ 223 h 224"/>
                <a:gd name="T48" fmla="*/ 1467 w 2245"/>
                <a:gd name="T49" fmla="*/ 220 h 224"/>
                <a:gd name="T50" fmla="*/ 1445 w 2245"/>
                <a:gd name="T51" fmla="*/ 202 h 224"/>
                <a:gd name="T52" fmla="*/ 1438 w 2245"/>
                <a:gd name="T53" fmla="*/ 168 h 224"/>
                <a:gd name="T54" fmla="*/ 1382 w 2245"/>
                <a:gd name="T55" fmla="*/ 221 h 224"/>
                <a:gd name="T56" fmla="*/ 1280 w 2245"/>
                <a:gd name="T57" fmla="*/ 94 h 224"/>
                <a:gd name="T58" fmla="*/ 1198 w 2245"/>
                <a:gd name="T59" fmla="*/ 221 h 224"/>
                <a:gd name="T60" fmla="*/ 1106 w 2245"/>
                <a:gd name="T61" fmla="*/ 134 h 224"/>
                <a:gd name="T62" fmla="*/ 1095 w 2245"/>
                <a:gd name="T63" fmla="*/ 97 h 224"/>
                <a:gd name="T64" fmla="*/ 1106 w 2245"/>
                <a:gd name="T65" fmla="*/ 134 h 224"/>
                <a:gd name="T66" fmla="*/ 926 w 2245"/>
                <a:gd name="T67" fmla="*/ 2 h 224"/>
                <a:gd name="T68" fmla="*/ 846 w 2245"/>
                <a:gd name="T69" fmla="*/ 2 h 224"/>
                <a:gd name="T70" fmla="*/ 744 w 2245"/>
                <a:gd name="T71" fmla="*/ 2 h 224"/>
                <a:gd name="T72" fmla="*/ 665 w 2245"/>
                <a:gd name="T73" fmla="*/ 2 h 224"/>
                <a:gd name="T74" fmla="*/ 517 w 2245"/>
                <a:gd name="T75" fmla="*/ 2 h 224"/>
                <a:gd name="T76" fmla="*/ 517 w 2245"/>
                <a:gd name="T77" fmla="*/ 2 h 224"/>
                <a:gd name="T78" fmla="*/ 487 w 2245"/>
                <a:gd name="T79" fmla="*/ 190 h 224"/>
                <a:gd name="T80" fmla="*/ 428 w 2245"/>
                <a:gd name="T81" fmla="*/ 33 h 224"/>
                <a:gd name="T82" fmla="*/ 335 w 2245"/>
                <a:gd name="T83" fmla="*/ 221 h 224"/>
                <a:gd name="T84" fmla="*/ 174 w 2245"/>
                <a:gd name="T85" fmla="*/ 176 h 224"/>
                <a:gd name="T86" fmla="*/ 184 w 2245"/>
                <a:gd name="T87" fmla="*/ 191 h 224"/>
                <a:gd name="T88" fmla="*/ 205 w 2245"/>
                <a:gd name="T89" fmla="*/ 187 h 224"/>
                <a:gd name="T90" fmla="*/ 209 w 2245"/>
                <a:gd name="T91" fmla="*/ 46 h 224"/>
                <a:gd name="T92" fmla="*/ 199 w 2245"/>
                <a:gd name="T93" fmla="*/ 31 h 224"/>
                <a:gd name="T94" fmla="*/ 178 w 2245"/>
                <a:gd name="T95" fmla="*/ 36 h 224"/>
                <a:gd name="T96" fmla="*/ 139 w 2245"/>
                <a:gd name="T97" fmla="*/ 55 h 224"/>
                <a:gd name="T98" fmla="*/ 144 w 2245"/>
                <a:gd name="T99" fmla="*/ 26 h 224"/>
                <a:gd name="T100" fmla="*/ 164 w 2245"/>
                <a:gd name="T101" fmla="*/ 5 h 224"/>
                <a:gd name="T102" fmla="*/ 198 w 2245"/>
                <a:gd name="T103" fmla="*/ 0 h 224"/>
                <a:gd name="T104" fmla="*/ 227 w 2245"/>
                <a:gd name="T105" fmla="*/ 10 h 224"/>
                <a:gd name="T106" fmla="*/ 242 w 2245"/>
                <a:gd name="T107" fmla="*/ 37 h 224"/>
                <a:gd name="T108" fmla="*/ 243 w 2245"/>
                <a:gd name="T109" fmla="*/ 180 h 224"/>
                <a:gd name="T110" fmla="*/ 233 w 2245"/>
                <a:gd name="T111" fmla="*/ 205 h 224"/>
                <a:gd name="T112" fmla="*/ 209 w 2245"/>
                <a:gd name="T113" fmla="*/ 222 h 224"/>
                <a:gd name="T114" fmla="*/ 174 w 2245"/>
                <a:gd name="T115" fmla="*/ 222 h 224"/>
                <a:gd name="T116" fmla="*/ 150 w 2245"/>
                <a:gd name="T117" fmla="*/ 205 h 224"/>
                <a:gd name="T118" fmla="*/ 140 w 2245"/>
                <a:gd name="T119" fmla="*/ 175 h 224"/>
                <a:gd name="T120" fmla="*/ 35 w 2245"/>
                <a:gd name="T121" fmla="*/ 2 h 224"/>
                <a:gd name="T122" fmla="*/ 74 w 2245"/>
                <a:gd name="T123" fmla="*/ 221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5" h="224">
                  <a:moveTo>
                    <a:pt x="2166" y="152"/>
                  </a:moveTo>
                  <a:lnTo>
                    <a:pt x="2199" y="152"/>
                  </a:lnTo>
                  <a:lnTo>
                    <a:pt x="2182" y="41"/>
                  </a:lnTo>
                  <a:lnTo>
                    <a:pt x="2166" y="152"/>
                  </a:lnTo>
                  <a:close/>
                  <a:moveTo>
                    <a:pt x="2245" y="221"/>
                  </a:moveTo>
                  <a:lnTo>
                    <a:pt x="2210" y="221"/>
                  </a:lnTo>
                  <a:lnTo>
                    <a:pt x="2204" y="181"/>
                  </a:lnTo>
                  <a:lnTo>
                    <a:pt x="2162" y="181"/>
                  </a:lnTo>
                  <a:lnTo>
                    <a:pt x="2156" y="221"/>
                  </a:lnTo>
                  <a:lnTo>
                    <a:pt x="2124" y="221"/>
                  </a:lnTo>
                  <a:lnTo>
                    <a:pt x="2159" y="2"/>
                  </a:lnTo>
                  <a:lnTo>
                    <a:pt x="2210" y="2"/>
                  </a:lnTo>
                  <a:lnTo>
                    <a:pt x="2245" y="221"/>
                  </a:lnTo>
                  <a:close/>
                  <a:moveTo>
                    <a:pt x="2016" y="2"/>
                  </a:moveTo>
                  <a:lnTo>
                    <a:pt x="2122" y="2"/>
                  </a:lnTo>
                  <a:lnTo>
                    <a:pt x="2122" y="33"/>
                  </a:lnTo>
                  <a:lnTo>
                    <a:pt x="2086" y="33"/>
                  </a:lnTo>
                  <a:lnTo>
                    <a:pt x="2086" y="221"/>
                  </a:lnTo>
                  <a:lnTo>
                    <a:pt x="2052" y="221"/>
                  </a:lnTo>
                  <a:lnTo>
                    <a:pt x="2052" y="33"/>
                  </a:lnTo>
                  <a:lnTo>
                    <a:pt x="2016" y="33"/>
                  </a:lnTo>
                  <a:lnTo>
                    <a:pt x="2016" y="2"/>
                  </a:lnTo>
                  <a:close/>
                  <a:moveTo>
                    <a:pt x="1915" y="62"/>
                  </a:moveTo>
                  <a:lnTo>
                    <a:pt x="1915" y="221"/>
                  </a:lnTo>
                  <a:lnTo>
                    <a:pt x="1884" y="221"/>
                  </a:lnTo>
                  <a:lnTo>
                    <a:pt x="1884" y="2"/>
                  </a:lnTo>
                  <a:lnTo>
                    <a:pt x="1927" y="2"/>
                  </a:lnTo>
                  <a:lnTo>
                    <a:pt x="1962" y="133"/>
                  </a:lnTo>
                  <a:lnTo>
                    <a:pt x="1962" y="2"/>
                  </a:lnTo>
                  <a:lnTo>
                    <a:pt x="1993" y="2"/>
                  </a:lnTo>
                  <a:lnTo>
                    <a:pt x="1993" y="221"/>
                  </a:lnTo>
                  <a:lnTo>
                    <a:pt x="1958" y="221"/>
                  </a:lnTo>
                  <a:lnTo>
                    <a:pt x="1915" y="62"/>
                  </a:lnTo>
                  <a:close/>
                  <a:moveTo>
                    <a:pt x="1817" y="2"/>
                  </a:moveTo>
                  <a:lnTo>
                    <a:pt x="1851" y="2"/>
                  </a:lnTo>
                  <a:lnTo>
                    <a:pt x="1851" y="221"/>
                  </a:lnTo>
                  <a:lnTo>
                    <a:pt x="1817" y="221"/>
                  </a:lnTo>
                  <a:lnTo>
                    <a:pt x="1817" y="2"/>
                  </a:lnTo>
                  <a:close/>
                  <a:moveTo>
                    <a:pt x="1713" y="157"/>
                  </a:moveTo>
                  <a:lnTo>
                    <a:pt x="1736" y="2"/>
                  </a:lnTo>
                  <a:lnTo>
                    <a:pt x="1783" y="2"/>
                  </a:lnTo>
                  <a:lnTo>
                    <a:pt x="1783" y="221"/>
                  </a:lnTo>
                  <a:lnTo>
                    <a:pt x="1752" y="221"/>
                  </a:lnTo>
                  <a:lnTo>
                    <a:pt x="1752" y="64"/>
                  </a:lnTo>
                  <a:lnTo>
                    <a:pt x="1727" y="221"/>
                  </a:lnTo>
                  <a:lnTo>
                    <a:pt x="1695" y="221"/>
                  </a:lnTo>
                  <a:lnTo>
                    <a:pt x="1669" y="66"/>
                  </a:lnTo>
                  <a:lnTo>
                    <a:pt x="1669" y="221"/>
                  </a:lnTo>
                  <a:lnTo>
                    <a:pt x="1640" y="221"/>
                  </a:lnTo>
                  <a:lnTo>
                    <a:pt x="1640" y="2"/>
                  </a:lnTo>
                  <a:lnTo>
                    <a:pt x="1687" y="2"/>
                  </a:lnTo>
                  <a:lnTo>
                    <a:pt x="1713" y="157"/>
                  </a:lnTo>
                  <a:close/>
                  <a:moveTo>
                    <a:pt x="1572" y="2"/>
                  </a:moveTo>
                  <a:lnTo>
                    <a:pt x="1607" y="2"/>
                  </a:lnTo>
                  <a:lnTo>
                    <a:pt x="1607" y="221"/>
                  </a:lnTo>
                  <a:lnTo>
                    <a:pt x="1572" y="221"/>
                  </a:lnTo>
                  <a:lnTo>
                    <a:pt x="1572" y="2"/>
                  </a:lnTo>
                  <a:close/>
                  <a:moveTo>
                    <a:pt x="1471" y="171"/>
                  </a:moveTo>
                  <a:lnTo>
                    <a:pt x="1473" y="176"/>
                  </a:lnTo>
                  <a:lnTo>
                    <a:pt x="1474" y="180"/>
                  </a:lnTo>
                  <a:lnTo>
                    <a:pt x="1474" y="183"/>
                  </a:lnTo>
                  <a:lnTo>
                    <a:pt x="1475" y="185"/>
                  </a:lnTo>
                  <a:lnTo>
                    <a:pt x="1477" y="187"/>
                  </a:lnTo>
                  <a:lnTo>
                    <a:pt x="1479" y="189"/>
                  </a:lnTo>
                  <a:lnTo>
                    <a:pt x="1482" y="191"/>
                  </a:lnTo>
                  <a:lnTo>
                    <a:pt x="1486" y="192"/>
                  </a:lnTo>
                  <a:lnTo>
                    <a:pt x="1489" y="192"/>
                  </a:lnTo>
                  <a:lnTo>
                    <a:pt x="1494" y="192"/>
                  </a:lnTo>
                  <a:lnTo>
                    <a:pt x="1497" y="191"/>
                  </a:lnTo>
                  <a:lnTo>
                    <a:pt x="1500" y="189"/>
                  </a:lnTo>
                  <a:lnTo>
                    <a:pt x="1503" y="187"/>
                  </a:lnTo>
                  <a:lnTo>
                    <a:pt x="1505" y="185"/>
                  </a:lnTo>
                  <a:lnTo>
                    <a:pt x="1506" y="180"/>
                  </a:lnTo>
                  <a:lnTo>
                    <a:pt x="1507" y="176"/>
                  </a:lnTo>
                  <a:lnTo>
                    <a:pt x="1507" y="171"/>
                  </a:lnTo>
                  <a:lnTo>
                    <a:pt x="1507" y="52"/>
                  </a:lnTo>
                  <a:lnTo>
                    <a:pt x="1507" y="46"/>
                  </a:lnTo>
                  <a:lnTo>
                    <a:pt x="1506" y="42"/>
                  </a:lnTo>
                  <a:lnTo>
                    <a:pt x="1505" y="40"/>
                  </a:lnTo>
                  <a:lnTo>
                    <a:pt x="1505" y="39"/>
                  </a:lnTo>
                  <a:lnTo>
                    <a:pt x="1503" y="36"/>
                  </a:lnTo>
                  <a:lnTo>
                    <a:pt x="1500" y="33"/>
                  </a:lnTo>
                  <a:lnTo>
                    <a:pt x="1497" y="31"/>
                  </a:lnTo>
                  <a:lnTo>
                    <a:pt x="1494" y="30"/>
                  </a:lnTo>
                  <a:lnTo>
                    <a:pt x="1489" y="30"/>
                  </a:lnTo>
                  <a:lnTo>
                    <a:pt x="1486" y="30"/>
                  </a:lnTo>
                  <a:lnTo>
                    <a:pt x="1482" y="31"/>
                  </a:lnTo>
                  <a:lnTo>
                    <a:pt x="1479" y="33"/>
                  </a:lnTo>
                  <a:lnTo>
                    <a:pt x="1477" y="36"/>
                  </a:lnTo>
                  <a:lnTo>
                    <a:pt x="1475" y="39"/>
                  </a:lnTo>
                  <a:lnTo>
                    <a:pt x="1474" y="42"/>
                  </a:lnTo>
                  <a:lnTo>
                    <a:pt x="1473" y="46"/>
                  </a:lnTo>
                  <a:lnTo>
                    <a:pt x="1471" y="52"/>
                  </a:lnTo>
                  <a:lnTo>
                    <a:pt x="1471" y="171"/>
                  </a:lnTo>
                  <a:close/>
                  <a:moveTo>
                    <a:pt x="1438" y="55"/>
                  </a:moveTo>
                  <a:lnTo>
                    <a:pt x="1438" y="48"/>
                  </a:lnTo>
                  <a:lnTo>
                    <a:pt x="1439" y="42"/>
                  </a:lnTo>
                  <a:lnTo>
                    <a:pt x="1440" y="37"/>
                  </a:lnTo>
                  <a:lnTo>
                    <a:pt x="1440" y="33"/>
                  </a:lnTo>
                  <a:lnTo>
                    <a:pt x="1441" y="31"/>
                  </a:lnTo>
                  <a:lnTo>
                    <a:pt x="1443" y="26"/>
                  </a:lnTo>
                  <a:lnTo>
                    <a:pt x="1445" y="22"/>
                  </a:lnTo>
                  <a:lnTo>
                    <a:pt x="1448" y="18"/>
                  </a:lnTo>
                  <a:lnTo>
                    <a:pt x="1451" y="13"/>
                  </a:lnTo>
                  <a:lnTo>
                    <a:pt x="1455" y="10"/>
                  </a:lnTo>
                  <a:lnTo>
                    <a:pt x="1459" y="7"/>
                  </a:lnTo>
                  <a:lnTo>
                    <a:pt x="1463" y="5"/>
                  </a:lnTo>
                  <a:lnTo>
                    <a:pt x="1467" y="3"/>
                  </a:lnTo>
                  <a:lnTo>
                    <a:pt x="1473" y="1"/>
                  </a:lnTo>
                  <a:lnTo>
                    <a:pt x="1478" y="0"/>
                  </a:lnTo>
                  <a:lnTo>
                    <a:pt x="1484" y="0"/>
                  </a:lnTo>
                  <a:lnTo>
                    <a:pt x="1489" y="0"/>
                  </a:lnTo>
                  <a:lnTo>
                    <a:pt x="1496" y="0"/>
                  </a:lnTo>
                  <a:lnTo>
                    <a:pt x="1502" y="0"/>
                  </a:lnTo>
                  <a:lnTo>
                    <a:pt x="1507" y="1"/>
                  </a:lnTo>
                  <a:lnTo>
                    <a:pt x="1513" y="3"/>
                  </a:lnTo>
                  <a:lnTo>
                    <a:pt x="1517" y="5"/>
                  </a:lnTo>
                  <a:lnTo>
                    <a:pt x="1521" y="7"/>
                  </a:lnTo>
                  <a:lnTo>
                    <a:pt x="1525" y="10"/>
                  </a:lnTo>
                  <a:lnTo>
                    <a:pt x="1529" y="13"/>
                  </a:lnTo>
                  <a:lnTo>
                    <a:pt x="1532" y="18"/>
                  </a:lnTo>
                  <a:lnTo>
                    <a:pt x="1535" y="22"/>
                  </a:lnTo>
                  <a:lnTo>
                    <a:pt x="1537" y="26"/>
                  </a:lnTo>
                  <a:lnTo>
                    <a:pt x="1539" y="31"/>
                  </a:lnTo>
                  <a:lnTo>
                    <a:pt x="1540" y="37"/>
                  </a:lnTo>
                  <a:lnTo>
                    <a:pt x="1541" y="42"/>
                  </a:lnTo>
                  <a:lnTo>
                    <a:pt x="1542" y="48"/>
                  </a:lnTo>
                  <a:lnTo>
                    <a:pt x="1542" y="55"/>
                  </a:lnTo>
                  <a:lnTo>
                    <a:pt x="1542" y="168"/>
                  </a:lnTo>
                  <a:lnTo>
                    <a:pt x="1542" y="175"/>
                  </a:lnTo>
                  <a:lnTo>
                    <a:pt x="1541" y="180"/>
                  </a:lnTo>
                  <a:lnTo>
                    <a:pt x="1540" y="187"/>
                  </a:lnTo>
                  <a:lnTo>
                    <a:pt x="1539" y="189"/>
                  </a:lnTo>
                  <a:lnTo>
                    <a:pt x="1539" y="192"/>
                  </a:lnTo>
                  <a:lnTo>
                    <a:pt x="1537" y="196"/>
                  </a:lnTo>
                  <a:lnTo>
                    <a:pt x="1535" y="202"/>
                  </a:lnTo>
                  <a:lnTo>
                    <a:pt x="1532" y="205"/>
                  </a:lnTo>
                  <a:lnTo>
                    <a:pt x="1529" y="209"/>
                  </a:lnTo>
                  <a:lnTo>
                    <a:pt x="1525" y="212"/>
                  </a:lnTo>
                  <a:lnTo>
                    <a:pt x="1521" y="215"/>
                  </a:lnTo>
                  <a:lnTo>
                    <a:pt x="1517" y="217"/>
                  </a:lnTo>
                  <a:lnTo>
                    <a:pt x="1513" y="220"/>
                  </a:lnTo>
                  <a:lnTo>
                    <a:pt x="1507" y="222"/>
                  </a:lnTo>
                  <a:lnTo>
                    <a:pt x="1502" y="223"/>
                  </a:lnTo>
                  <a:lnTo>
                    <a:pt x="1496" y="223"/>
                  </a:lnTo>
                  <a:lnTo>
                    <a:pt x="1489" y="224"/>
                  </a:lnTo>
                  <a:lnTo>
                    <a:pt x="1484" y="223"/>
                  </a:lnTo>
                  <a:lnTo>
                    <a:pt x="1478" y="223"/>
                  </a:lnTo>
                  <a:lnTo>
                    <a:pt x="1473" y="222"/>
                  </a:lnTo>
                  <a:lnTo>
                    <a:pt x="1467" y="220"/>
                  </a:lnTo>
                  <a:lnTo>
                    <a:pt x="1463" y="217"/>
                  </a:lnTo>
                  <a:lnTo>
                    <a:pt x="1459" y="215"/>
                  </a:lnTo>
                  <a:lnTo>
                    <a:pt x="1455" y="212"/>
                  </a:lnTo>
                  <a:lnTo>
                    <a:pt x="1451" y="209"/>
                  </a:lnTo>
                  <a:lnTo>
                    <a:pt x="1448" y="205"/>
                  </a:lnTo>
                  <a:lnTo>
                    <a:pt x="1445" y="202"/>
                  </a:lnTo>
                  <a:lnTo>
                    <a:pt x="1443" y="196"/>
                  </a:lnTo>
                  <a:lnTo>
                    <a:pt x="1441" y="192"/>
                  </a:lnTo>
                  <a:lnTo>
                    <a:pt x="1440" y="187"/>
                  </a:lnTo>
                  <a:lnTo>
                    <a:pt x="1439" y="180"/>
                  </a:lnTo>
                  <a:lnTo>
                    <a:pt x="1438" y="175"/>
                  </a:lnTo>
                  <a:lnTo>
                    <a:pt x="1438" y="168"/>
                  </a:lnTo>
                  <a:lnTo>
                    <a:pt x="1438" y="55"/>
                  </a:lnTo>
                  <a:close/>
                  <a:moveTo>
                    <a:pt x="1311" y="2"/>
                  </a:moveTo>
                  <a:lnTo>
                    <a:pt x="1418" y="2"/>
                  </a:lnTo>
                  <a:lnTo>
                    <a:pt x="1418" y="33"/>
                  </a:lnTo>
                  <a:lnTo>
                    <a:pt x="1382" y="33"/>
                  </a:lnTo>
                  <a:lnTo>
                    <a:pt x="1382" y="221"/>
                  </a:lnTo>
                  <a:lnTo>
                    <a:pt x="1347" y="221"/>
                  </a:lnTo>
                  <a:lnTo>
                    <a:pt x="1347" y="33"/>
                  </a:lnTo>
                  <a:lnTo>
                    <a:pt x="1311" y="33"/>
                  </a:lnTo>
                  <a:lnTo>
                    <a:pt x="1311" y="2"/>
                  </a:lnTo>
                  <a:close/>
                  <a:moveTo>
                    <a:pt x="1232" y="94"/>
                  </a:moveTo>
                  <a:lnTo>
                    <a:pt x="1280" y="94"/>
                  </a:lnTo>
                  <a:lnTo>
                    <a:pt x="1280" y="125"/>
                  </a:lnTo>
                  <a:lnTo>
                    <a:pt x="1232" y="125"/>
                  </a:lnTo>
                  <a:lnTo>
                    <a:pt x="1232" y="190"/>
                  </a:lnTo>
                  <a:lnTo>
                    <a:pt x="1292" y="190"/>
                  </a:lnTo>
                  <a:lnTo>
                    <a:pt x="1292" y="221"/>
                  </a:lnTo>
                  <a:lnTo>
                    <a:pt x="1198" y="221"/>
                  </a:lnTo>
                  <a:lnTo>
                    <a:pt x="1198" y="2"/>
                  </a:lnTo>
                  <a:lnTo>
                    <a:pt x="1292" y="2"/>
                  </a:lnTo>
                  <a:lnTo>
                    <a:pt x="1292" y="33"/>
                  </a:lnTo>
                  <a:lnTo>
                    <a:pt x="1232" y="33"/>
                  </a:lnTo>
                  <a:lnTo>
                    <a:pt x="1232" y="94"/>
                  </a:lnTo>
                  <a:close/>
                  <a:moveTo>
                    <a:pt x="1106" y="134"/>
                  </a:moveTo>
                  <a:lnTo>
                    <a:pt x="1095" y="154"/>
                  </a:lnTo>
                  <a:lnTo>
                    <a:pt x="1095" y="221"/>
                  </a:lnTo>
                  <a:lnTo>
                    <a:pt x="1060" y="221"/>
                  </a:lnTo>
                  <a:lnTo>
                    <a:pt x="1060" y="2"/>
                  </a:lnTo>
                  <a:lnTo>
                    <a:pt x="1095" y="2"/>
                  </a:lnTo>
                  <a:lnTo>
                    <a:pt x="1095" y="97"/>
                  </a:lnTo>
                  <a:lnTo>
                    <a:pt x="1140" y="2"/>
                  </a:lnTo>
                  <a:lnTo>
                    <a:pt x="1174" y="2"/>
                  </a:lnTo>
                  <a:lnTo>
                    <a:pt x="1127" y="99"/>
                  </a:lnTo>
                  <a:lnTo>
                    <a:pt x="1174" y="221"/>
                  </a:lnTo>
                  <a:lnTo>
                    <a:pt x="1139" y="221"/>
                  </a:lnTo>
                  <a:lnTo>
                    <a:pt x="1106" y="134"/>
                  </a:lnTo>
                  <a:close/>
                  <a:moveTo>
                    <a:pt x="993" y="2"/>
                  </a:moveTo>
                  <a:lnTo>
                    <a:pt x="1027" y="2"/>
                  </a:lnTo>
                  <a:lnTo>
                    <a:pt x="1027" y="221"/>
                  </a:lnTo>
                  <a:lnTo>
                    <a:pt x="993" y="221"/>
                  </a:lnTo>
                  <a:lnTo>
                    <a:pt x="993" y="2"/>
                  </a:lnTo>
                  <a:close/>
                  <a:moveTo>
                    <a:pt x="926" y="2"/>
                  </a:moveTo>
                  <a:lnTo>
                    <a:pt x="961" y="2"/>
                  </a:lnTo>
                  <a:lnTo>
                    <a:pt x="961" y="221"/>
                  </a:lnTo>
                  <a:lnTo>
                    <a:pt x="926" y="221"/>
                  </a:lnTo>
                  <a:lnTo>
                    <a:pt x="926" y="2"/>
                  </a:lnTo>
                  <a:close/>
                  <a:moveTo>
                    <a:pt x="812" y="2"/>
                  </a:moveTo>
                  <a:lnTo>
                    <a:pt x="846" y="2"/>
                  </a:lnTo>
                  <a:lnTo>
                    <a:pt x="846" y="190"/>
                  </a:lnTo>
                  <a:lnTo>
                    <a:pt x="903" y="190"/>
                  </a:lnTo>
                  <a:lnTo>
                    <a:pt x="903" y="221"/>
                  </a:lnTo>
                  <a:lnTo>
                    <a:pt x="812" y="221"/>
                  </a:lnTo>
                  <a:lnTo>
                    <a:pt x="812" y="2"/>
                  </a:lnTo>
                  <a:close/>
                  <a:moveTo>
                    <a:pt x="744" y="2"/>
                  </a:moveTo>
                  <a:lnTo>
                    <a:pt x="779" y="2"/>
                  </a:lnTo>
                  <a:lnTo>
                    <a:pt x="779" y="221"/>
                  </a:lnTo>
                  <a:lnTo>
                    <a:pt x="744" y="221"/>
                  </a:lnTo>
                  <a:lnTo>
                    <a:pt x="744" y="2"/>
                  </a:lnTo>
                  <a:close/>
                  <a:moveTo>
                    <a:pt x="631" y="2"/>
                  </a:moveTo>
                  <a:lnTo>
                    <a:pt x="665" y="2"/>
                  </a:lnTo>
                  <a:lnTo>
                    <a:pt x="665" y="190"/>
                  </a:lnTo>
                  <a:lnTo>
                    <a:pt x="722" y="190"/>
                  </a:lnTo>
                  <a:lnTo>
                    <a:pt x="722" y="221"/>
                  </a:lnTo>
                  <a:lnTo>
                    <a:pt x="631" y="221"/>
                  </a:lnTo>
                  <a:lnTo>
                    <a:pt x="631" y="2"/>
                  </a:lnTo>
                  <a:close/>
                  <a:moveTo>
                    <a:pt x="517" y="2"/>
                  </a:moveTo>
                  <a:lnTo>
                    <a:pt x="550" y="2"/>
                  </a:lnTo>
                  <a:lnTo>
                    <a:pt x="550" y="190"/>
                  </a:lnTo>
                  <a:lnTo>
                    <a:pt x="607" y="190"/>
                  </a:lnTo>
                  <a:lnTo>
                    <a:pt x="607" y="221"/>
                  </a:lnTo>
                  <a:lnTo>
                    <a:pt x="517" y="221"/>
                  </a:lnTo>
                  <a:lnTo>
                    <a:pt x="517" y="2"/>
                  </a:lnTo>
                  <a:close/>
                  <a:moveTo>
                    <a:pt x="428" y="94"/>
                  </a:moveTo>
                  <a:lnTo>
                    <a:pt x="475" y="94"/>
                  </a:lnTo>
                  <a:lnTo>
                    <a:pt x="475" y="125"/>
                  </a:lnTo>
                  <a:lnTo>
                    <a:pt x="428" y="125"/>
                  </a:lnTo>
                  <a:lnTo>
                    <a:pt x="428" y="190"/>
                  </a:lnTo>
                  <a:lnTo>
                    <a:pt x="487" y="190"/>
                  </a:lnTo>
                  <a:lnTo>
                    <a:pt x="487" y="221"/>
                  </a:lnTo>
                  <a:lnTo>
                    <a:pt x="394" y="221"/>
                  </a:lnTo>
                  <a:lnTo>
                    <a:pt x="394" y="2"/>
                  </a:lnTo>
                  <a:lnTo>
                    <a:pt x="487" y="2"/>
                  </a:lnTo>
                  <a:lnTo>
                    <a:pt x="487" y="33"/>
                  </a:lnTo>
                  <a:lnTo>
                    <a:pt x="428" y="33"/>
                  </a:lnTo>
                  <a:lnTo>
                    <a:pt x="428" y="94"/>
                  </a:lnTo>
                  <a:close/>
                  <a:moveTo>
                    <a:pt x="264" y="2"/>
                  </a:moveTo>
                  <a:lnTo>
                    <a:pt x="371" y="2"/>
                  </a:lnTo>
                  <a:lnTo>
                    <a:pt x="371" y="33"/>
                  </a:lnTo>
                  <a:lnTo>
                    <a:pt x="335" y="33"/>
                  </a:lnTo>
                  <a:lnTo>
                    <a:pt x="335" y="221"/>
                  </a:lnTo>
                  <a:lnTo>
                    <a:pt x="300" y="221"/>
                  </a:lnTo>
                  <a:lnTo>
                    <a:pt x="300" y="33"/>
                  </a:lnTo>
                  <a:lnTo>
                    <a:pt x="264" y="33"/>
                  </a:lnTo>
                  <a:lnTo>
                    <a:pt x="264" y="2"/>
                  </a:lnTo>
                  <a:close/>
                  <a:moveTo>
                    <a:pt x="174" y="171"/>
                  </a:moveTo>
                  <a:lnTo>
                    <a:pt x="174" y="176"/>
                  </a:lnTo>
                  <a:lnTo>
                    <a:pt x="175" y="180"/>
                  </a:lnTo>
                  <a:lnTo>
                    <a:pt x="176" y="183"/>
                  </a:lnTo>
                  <a:lnTo>
                    <a:pt x="177" y="185"/>
                  </a:lnTo>
                  <a:lnTo>
                    <a:pt x="178" y="187"/>
                  </a:lnTo>
                  <a:lnTo>
                    <a:pt x="181" y="189"/>
                  </a:lnTo>
                  <a:lnTo>
                    <a:pt x="184" y="191"/>
                  </a:lnTo>
                  <a:lnTo>
                    <a:pt x="188" y="192"/>
                  </a:lnTo>
                  <a:lnTo>
                    <a:pt x="192" y="192"/>
                  </a:lnTo>
                  <a:lnTo>
                    <a:pt x="196" y="192"/>
                  </a:lnTo>
                  <a:lnTo>
                    <a:pt x="199" y="191"/>
                  </a:lnTo>
                  <a:lnTo>
                    <a:pt x="202" y="189"/>
                  </a:lnTo>
                  <a:lnTo>
                    <a:pt x="205" y="187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6"/>
                  </a:lnTo>
                  <a:lnTo>
                    <a:pt x="210" y="171"/>
                  </a:lnTo>
                  <a:lnTo>
                    <a:pt x="210" y="52"/>
                  </a:lnTo>
                  <a:lnTo>
                    <a:pt x="209" y="46"/>
                  </a:lnTo>
                  <a:lnTo>
                    <a:pt x="209" y="42"/>
                  </a:lnTo>
                  <a:lnTo>
                    <a:pt x="208" y="40"/>
                  </a:lnTo>
                  <a:lnTo>
                    <a:pt x="207" y="39"/>
                  </a:lnTo>
                  <a:lnTo>
                    <a:pt x="205" y="36"/>
                  </a:lnTo>
                  <a:lnTo>
                    <a:pt x="202" y="33"/>
                  </a:lnTo>
                  <a:lnTo>
                    <a:pt x="199" y="31"/>
                  </a:lnTo>
                  <a:lnTo>
                    <a:pt x="196" y="30"/>
                  </a:lnTo>
                  <a:lnTo>
                    <a:pt x="192" y="30"/>
                  </a:lnTo>
                  <a:lnTo>
                    <a:pt x="188" y="30"/>
                  </a:lnTo>
                  <a:lnTo>
                    <a:pt x="184" y="31"/>
                  </a:lnTo>
                  <a:lnTo>
                    <a:pt x="181" y="33"/>
                  </a:lnTo>
                  <a:lnTo>
                    <a:pt x="178" y="36"/>
                  </a:lnTo>
                  <a:lnTo>
                    <a:pt x="177" y="39"/>
                  </a:lnTo>
                  <a:lnTo>
                    <a:pt x="175" y="42"/>
                  </a:lnTo>
                  <a:lnTo>
                    <a:pt x="174" y="46"/>
                  </a:lnTo>
                  <a:lnTo>
                    <a:pt x="174" y="52"/>
                  </a:lnTo>
                  <a:lnTo>
                    <a:pt x="174" y="171"/>
                  </a:lnTo>
                  <a:close/>
                  <a:moveTo>
                    <a:pt x="139" y="55"/>
                  </a:moveTo>
                  <a:lnTo>
                    <a:pt x="140" y="48"/>
                  </a:lnTo>
                  <a:lnTo>
                    <a:pt x="140" y="42"/>
                  </a:lnTo>
                  <a:lnTo>
                    <a:pt x="141" y="37"/>
                  </a:lnTo>
                  <a:lnTo>
                    <a:pt x="142" y="33"/>
                  </a:lnTo>
                  <a:lnTo>
                    <a:pt x="143" y="31"/>
                  </a:lnTo>
                  <a:lnTo>
                    <a:pt x="144" y="26"/>
                  </a:lnTo>
                  <a:lnTo>
                    <a:pt x="147" y="22"/>
                  </a:lnTo>
                  <a:lnTo>
                    <a:pt x="150" y="18"/>
                  </a:lnTo>
                  <a:lnTo>
                    <a:pt x="153" y="13"/>
                  </a:lnTo>
                  <a:lnTo>
                    <a:pt x="156" y="10"/>
                  </a:lnTo>
                  <a:lnTo>
                    <a:pt x="160" y="7"/>
                  </a:lnTo>
                  <a:lnTo>
                    <a:pt x="164" y="5"/>
                  </a:lnTo>
                  <a:lnTo>
                    <a:pt x="170" y="3"/>
                  </a:lnTo>
                  <a:lnTo>
                    <a:pt x="174" y="1"/>
                  </a:lnTo>
                  <a:lnTo>
                    <a:pt x="179" y="0"/>
                  </a:lnTo>
                  <a:lnTo>
                    <a:pt x="186" y="0"/>
                  </a:lnTo>
                  <a:lnTo>
                    <a:pt x="192" y="0"/>
                  </a:lnTo>
                  <a:lnTo>
                    <a:pt x="198" y="0"/>
                  </a:lnTo>
                  <a:lnTo>
                    <a:pt x="203" y="0"/>
                  </a:lnTo>
                  <a:lnTo>
                    <a:pt x="209" y="1"/>
                  </a:lnTo>
                  <a:lnTo>
                    <a:pt x="214" y="3"/>
                  </a:lnTo>
                  <a:lnTo>
                    <a:pt x="218" y="5"/>
                  </a:lnTo>
                  <a:lnTo>
                    <a:pt x="224" y="7"/>
                  </a:lnTo>
                  <a:lnTo>
                    <a:pt x="227" y="10"/>
                  </a:lnTo>
                  <a:lnTo>
                    <a:pt x="231" y="13"/>
                  </a:lnTo>
                  <a:lnTo>
                    <a:pt x="233" y="18"/>
                  </a:lnTo>
                  <a:lnTo>
                    <a:pt x="236" y="22"/>
                  </a:lnTo>
                  <a:lnTo>
                    <a:pt x="238" y="26"/>
                  </a:lnTo>
                  <a:lnTo>
                    <a:pt x="240" y="31"/>
                  </a:lnTo>
                  <a:lnTo>
                    <a:pt x="242" y="37"/>
                  </a:lnTo>
                  <a:lnTo>
                    <a:pt x="243" y="42"/>
                  </a:lnTo>
                  <a:lnTo>
                    <a:pt x="244" y="48"/>
                  </a:lnTo>
                  <a:lnTo>
                    <a:pt x="244" y="55"/>
                  </a:lnTo>
                  <a:lnTo>
                    <a:pt x="244" y="168"/>
                  </a:lnTo>
                  <a:lnTo>
                    <a:pt x="244" y="175"/>
                  </a:lnTo>
                  <a:lnTo>
                    <a:pt x="243" y="180"/>
                  </a:lnTo>
                  <a:lnTo>
                    <a:pt x="242" y="187"/>
                  </a:lnTo>
                  <a:lnTo>
                    <a:pt x="242" y="189"/>
                  </a:lnTo>
                  <a:lnTo>
                    <a:pt x="240" y="192"/>
                  </a:lnTo>
                  <a:lnTo>
                    <a:pt x="238" y="196"/>
                  </a:lnTo>
                  <a:lnTo>
                    <a:pt x="236" y="202"/>
                  </a:lnTo>
                  <a:lnTo>
                    <a:pt x="233" y="205"/>
                  </a:lnTo>
                  <a:lnTo>
                    <a:pt x="231" y="209"/>
                  </a:lnTo>
                  <a:lnTo>
                    <a:pt x="227" y="212"/>
                  </a:lnTo>
                  <a:lnTo>
                    <a:pt x="224" y="215"/>
                  </a:lnTo>
                  <a:lnTo>
                    <a:pt x="218" y="217"/>
                  </a:lnTo>
                  <a:lnTo>
                    <a:pt x="214" y="220"/>
                  </a:lnTo>
                  <a:lnTo>
                    <a:pt x="209" y="222"/>
                  </a:lnTo>
                  <a:lnTo>
                    <a:pt x="203" y="223"/>
                  </a:lnTo>
                  <a:lnTo>
                    <a:pt x="198" y="223"/>
                  </a:lnTo>
                  <a:lnTo>
                    <a:pt x="192" y="224"/>
                  </a:lnTo>
                  <a:lnTo>
                    <a:pt x="186" y="223"/>
                  </a:lnTo>
                  <a:lnTo>
                    <a:pt x="179" y="223"/>
                  </a:lnTo>
                  <a:lnTo>
                    <a:pt x="174" y="222"/>
                  </a:lnTo>
                  <a:lnTo>
                    <a:pt x="170" y="220"/>
                  </a:lnTo>
                  <a:lnTo>
                    <a:pt x="164" y="217"/>
                  </a:lnTo>
                  <a:lnTo>
                    <a:pt x="160" y="215"/>
                  </a:lnTo>
                  <a:lnTo>
                    <a:pt x="156" y="212"/>
                  </a:lnTo>
                  <a:lnTo>
                    <a:pt x="153" y="209"/>
                  </a:lnTo>
                  <a:lnTo>
                    <a:pt x="150" y="205"/>
                  </a:lnTo>
                  <a:lnTo>
                    <a:pt x="147" y="202"/>
                  </a:lnTo>
                  <a:lnTo>
                    <a:pt x="144" y="196"/>
                  </a:lnTo>
                  <a:lnTo>
                    <a:pt x="143" y="192"/>
                  </a:lnTo>
                  <a:lnTo>
                    <a:pt x="141" y="187"/>
                  </a:lnTo>
                  <a:lnTo>
                    <a:pt x="140" y="180"/>
                  </a:lnTo>
                  <a:lnTo>
                    <a:pt x="140" y="175"/>
                  </a:lnTo>
                  <a:lnTo>
                    <a:pt x="139" y="168"/>
                  </a:lnTo>
                  <a:lnTo>
                    <a:pt x="139" y="55"/>
                  </a:lnTo>
                  <a:close/>
                  <a:moveTo>
                    <a:pt x="35" y="221"/>
                  </a:moveTo>
                  <a:lnTo>
                    <a:pt x="0" y="221"/>
                  </a:lnTo>
                  <a:lnTo>
                    <a:pt x="0" y="2"/>
                  </a:lnTo>
                  <a:lnTo>
                    <a:pt x="35" y="2"/>
                  </a:lnTo>
                  <a:lnTo>
                    <a:pt x="35" y="96"/>
                  </a:lnTo>
                  <a:lnTo>
                    <a:pt x="74" y="96"/>
                  </a:lnTo>
                  <a:lnTo>
                    <a:pt x="74" y="2"/>
                  </a:lnTo>
                  <a:lnTo>
                    <a:pt x="109" y="2"/>
                  </a:lnTo>
                  <a:lnTo>
                    <a:pt x="109" y="221"/>
                  </a:lnTo>
                  <a:lnTo>
                    <a:pt x="74" y="221"/>
                  </a:lnTo>
                  <a:lnTo>
                    <a:pt x="74" y="126"/>
                  </a:lnTo>
                  <a:lnTo>
                    <a:pt x="35" y="126"/>
                  </a:lnTo>
                  <a:lnTo>
                    <a:pt x="35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98192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954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57A86078-D736-4178-82F9-3F1064ADD049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42" name="Freeform 38"/>
            <p:cNvSpPr>
              <a:spLocks noEditPoints="1"/>
            </p:cNvSpPr>
            <p:nvPr userDrawn="1"/>
          </p:nvSpPr>
          <p:spPr bwMode="auto">
            <a:xfrm>
              <a:off x="8873542" y="6476771"/>
              <a:ext cx="1942286" cy="211200"/>
            </a:xfrm>
            <a:custGeom>
              <a:avLst/>
              <a:gdLst>
                <a:gd name="T0" fmla="*/ 1940 w 2061"/>
                <a:gd name="T1" fmla="*/ 221 h 224"/>
                <a:gd name="T2" fmla="*/ 1890 w 2061"/>
                <a:gd name="T3" fmla="*/ 103 h 224"/>
                <a:gd name="T4" fmla="*/ 1886 w 2061"/>
                <a:gd name="T5" fmla="*/ 36 h 224"/>
                <a:gd name="T6" fmla="*/ 1924 w 2061"/>
                <a:gd name="T7" fmla="*/ 107 h 224"/>
                <a:gd name="T8" fmla="*/ 1888 w 2061"/>
                <a:gd name="T9" fmla="*/ 138 h 224"/>
                <a:gd name="T10" fmla="*/ 1894 w 2061"/>
                <a:gd name="T11" fmla="*/ 4 h 224"/>
                <a:gd name="T12" fmla="*/ 1927 w 2061"/>
                <a:gd name="T13" fmla="*/ 38 h 224"/>
                <a:gd name="T14" fmla="*/ 1762 w 2061"/>
                <a:gd name="T15" fmla="*/ 103 h 224"/>
                <a:gd name="T16" fmla="*/ 1759 w 2061"/>
                <a:gd name="T17" fmla="*/ 36 h 224"/>
                <a:gd name="T18" fmla="*/ 1798 w 2061"/>
                <a:gd name="T19" fmla="*/ 107 h 224"/>
                <a:gd name="T20" fmla="*/ 1762 w 2061"/>
                <a:gd name="T21" fmla="*/ 138 h 224"/>
                <a:gd name="T22" fmla="*/ 1767 w 2061"/>
                <a:gd name="T23" fmla="*/ 4 h 224"/>
                <a:gd name="T24" fmla="*/ 1799 w 2061"/>
                <a:gd name="T25" fmla="*/ 38 h 224"/>
                <a:gd name="T26" fmla="*/ 1604 w 2061"/>
                <a:gd name="T27" fmla="*/ 188 h 224"/>
                <a:gd name="T28" fmla="*/ 1634 w 2061"/>
                <a:gd name="T29" fmla="*/ 180 h 224"/>
                <a:gd name="T30" fmla="*/ 1662 w 2061"/>
                <a:gd name="T31" fmla="*/ 197 h 224"/>
                <a:gd name="T32" fmla="*/ 1627 w 2061"/>
                <a:gd name="T33" fmla="*/ 223 h 224"/>
                <a:gd name="T34" fmla="*/ 1578 w 2061"/>
                <a:gd name="T35" fmla="*/ 209 h 224"/>
                <a:gd name="T36" fmla="*/ 1599 w 2061"/>
                <a:gd name="T37" fmla="*/ 2 h 224"/>
                <a:gd name="T38" fmla="*/ 1421 w 2061"/>
                <a:gd name="T39" fmla="*/ 221 h 224"/>
                <a:gd name="T40" fmla="*/ 1328 w 2061"/>
                <a:gd name="T41" fmla="*/ 97 h 224"/>
                <a:gd name="T42" fmla="*/ 1204 w 2061"/>
                <a:gd name="T43" fmla="*/ 125 h 224"/>
                <a:gd name="T44" fmla="*/ 1077 w 2061"/>
                <a:gd name="T45" fmla="*/ 134 h 224"/>
                <a:gd name="T46" fmla="*/ 1146 w 2061"/>
                <a:gd name="T47" fmla="*/ 221 h 224"/>
                <a:gd name="T48" fmla="*/ 932 w 2061"/>
                <a:gd name="T49" fmla="*/ 221 h 224"/>
                <a:gd name="T50" fmla="*/ 705 w 2061"/>
                <a:gd name="T51" fmla="*/ 0 h 224"/>
                <a:gd name="T52" fmla="*/ 748 w 2061"/>
                <a:gd name="T53" fmla="*/ 22 h 224"/>
                <a:gd name="T54" fmla="*/ 723 w 2061"/>
                <a:gd name="T55" fmla="*/ 46 h 224"/>
                <a:gd name="T56" fmla="*/ 698 w 2061"/>
                <a:gd name="T57" fmla="*/ 32 h 224"/>
                <a:gd name="T58" fmla="*/ 693 w 2061"/>
                <a:gd name="T59" fmla="*/ 70 h 224"/>
                <a:gd name="T60" fmla="*/ 754 w 2061"/>
                <a:gd name="T61" fmla="*/ 148 h 224"/>
                <a:gd name="T62" fmla="*/ 746 w 2061"/>
                <a:gd name="T63" fmla="*/ 205 h 224"/>
                <a:gd name="T64" fmla="*/ 705 w 2061"/>
                <a:gd name="T65" fmla="*/ 224 h 224"/>
                <a:gd name="T66" fmla="*/ 661 w 2061"/>
                <a:gd name="T67" fmla="*/ 202 h 224"/>
                <a:gd name="T68" fmla="*/ 686 w 2061"/>
                <a:gd name="T69" fmla="*/ 176 h 224"/>
                <a:gd name="T70" fmla="*/ 711 w 2061"/>
                <a:gd name="T71" fmla="*/ 191 h 224"/>
                <a:gd name="T72" fmla="*/ 718 w 2061"/>
                <a:gd name="T73" fmla="*/ 152 h 224"/>
                <a:gd name="T74" fmla="*/ 658 w 2061"/>
                <a:gd name="T75" fmla="*/ 76 h 224"/>
                <a:gd name="T76" fmla="*/ 664 w 2061"/>
                <a:gd name="T77" fmla="*/ 18 h 224"/>
                <a:gd name="T78" fmla="*/ 705 w 2061"/>
                <a:gd name="T79" fmla="*/ 0 h 224"/>
                <a:gd name="T80" fmla="*/ 494 w 2061"/>
                <a:gd name="T81" fmla="*/ 185 h 224"/>
                <a:gd name="T82" fmla="*/ 524 w 2061"/>
                <a:gd name="T83" fmla="*/ 185 h 224"/>
                <a:gd name="T84" fmla="*/ 520 w 2061"/>
                <a:gd name="T85" fmla="*/ 33 h 224"/>
                <a:gd name="T86" fmla="*/ 491 w 2061"/>
                <a:gd name="T87" fmla="*/ 46 h 224"/>
                <a:gd name="T88" fmla="*/ 464 w 2061"/>
                <a:gd name="T89" fmla="*/ 22 h 224"/>
                <a:gd name="T90" fmla="*/ 509 w 2061"/>
                <a:gd name="T91" fmla="*/ 0 h 224"/>
                <a:gd name="T92" fmla="*/ 554 w 2061"/>
                <a:gd name="T93" fmla="*/ 22 h 224"/>
                <a:gd name="T94" fmla="*/ 559 w 2061"/>
                <a:gd name="T95" fmla="*/ 187 h 224"/>
                <a:gd name="T96" fmla="*/ 532 w 2061"/>
                <a:gd name="T97" fmla="*/ 220 h 224"/>
                <a:gd name="T98" fmla="*/ 478 w 2061"/>
                <a:gd name="T99" fmla="*/ 215 h 224"/>
                <a:gd name="T100" fmla="*/ 457 w 2061"/>
                <a:gd name="T101" fmla="*/ 168 h 224"/>
                <a:gd name="T102" fmla="*/ 439 w 2061"/>
                <a:gd name="T103" fmla="*/ 2 h 224"/>
                <a:gd name="T104" fmla="*/ 157 w 2061"/>
                <a:gd name="T105" fmla="*/ 33 h 224"/>
                <a:gd name="T106" fmla="*/ 191 w 2061"/>
                <a:gd name="T107" fmla="*/ 83 h 224"/>
                <a:gd name="T108" fmla="*/ 178 w 2061"/>
                <a:gd name="T109" fmla="*/ 33 h 224"/>
                <a:gd name="T110" fmla="*/ 189 w 2061"/>
                <a:gd name="T111" fmla="*/ 141 h 224"/>
                <a:gd name="T112" fmla="*/ 123 w 2061"/>
                <a:gd name="T113" fmla="*/ 2 h 224"/>
                <a:gd name="T114" fmla="*/ 218 w 2061"/>
                <a:gd name="T115" fmla="*/ 18 h 224"/>
                <a:gd name="T116" fmla="*/ 225 w 2061"/>
                <a:gd name="T117" fmla="*/ 85 h 224"/>
                <a:gd name="T118" fmla="*/ 210 w 2061"/>
                <a:gd name="T119" fmla="*/ 117 h 224"/>
                <a:gd name="T120" fmla="*/ 227 w 2061"/>
                <a:gd name="T121" fmla="*/ 194 h 224"/>
                <a:gd name="T122" fmla="*/ 35 w 2061"/>
                <a:gd name="T123" fmla="*/ 12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1" h="224">
                  <a:moveTo>
                    <a:pt x="1982" y="152"/>
                  </a:moveTo>
                  <a:lnTo>
                    <a:pt x="2015" y="152"/>
                  </a:lnTo>
                  <a:lnTo>
                    <a:pt x="1998" y="41"/>
                  </a:lnTo>
                  <a:lnTo>
                    <a:pt x="1982" y="152"/>
                  </a:lnTo>
                  <a:close/>
                  <a:moveTo>
                    <a:pt x="2061" y="221"/>
                  </a:moveTo>
                  <a:lnTo>
                    <a:pt x="2026" y="221"/>
                  </a:lnTo>
                  <a:lnTo>
                    <a:pt x="2020" y="181"/>
                  </a:lnTo>
                  <a:lnTo>
                    <a:pt x="1977" y="181"/>
                  </a:lnTo>
                  <a:lnTo>
                    <a:pt x="1972" y="221"/>
                  </a:lnTo>
                  <a:lnTo>
                    <a:pt x="1940" y="221"/>
                  </a:lnTo>
                  <a:lnTo>
                    <a:pt x="1975" y="2"/>
                  </a:lnTo>
                  <a:lnTo>
                    <a:pt x="2026" y="2"/>
                  </a:lnTo>
                  <a:lnTo>
                    <a:pt x="2061" y="221"/>
                  </a:lnTo>
                  <a:close/>
                  <a:moveTo>
                    <a:pt x="1860" y="33"/>
                  </a:moveTo>
                  <a:lnTo>
                    <a:pt x="1860" y="107"/>
                  </a:lnTo>
                  <a:lnTo>
                    <a:pt x="1877" y="107"/>
                  </a:lnTo>
                  <a:lnTo>
                    <a:pt x="1880" y="107"/>
                  </a:lnTo>
                  <a:lnTo>
                    <a:pt x="1884" y="106"/>
                  </a:lnTo>
                  <a:lnTo>
                    <a:pt x="1886" y="104"/>
                  </a:lnTo>
                  <a:lnTo>
                    <a:pt x="1890" y="103"/>
                  </a:lnTo>
                  <a:lnTo>
                    <a:pt x="1891" y="100"/>
                  </a:lnTo>
                  <a:lnTo>
                    <a:pt x="1893" y="96"/>
                  </a:lnTo>
                  <a:lnTo>
                    <a:pt x="1893" y="92"/>
                  </a:lnTo>
                  <a:lnTo>
                    <a:pt x="1894" y="86"/>
                  </a:lnTo>
                  <a:lnTo>
                    <a:pt x="1894" y="53"/>
                  </a:lnTo>
                  <a:lnTo>
                    <a:pt x="1893" y="48"/>
                  </a:lnTo>
                  <a:lnTo>
                    <a:pt x="1893" y="44"/>
                  </a:lnTo>
                  <a:lnTo>
                    <a:pt x="1891" y="40"/>
                  </a:lnTo>
                  <a:lnTo>
                    <a:pt x="1890" y="38"/>
                  </a:lnTo>
                  <a:lnTo>
                    <a:pt x="1886" y="36"/>
                  </a:lnTo>
                  <a:lnTo>
                    <a:pt x="1884" y="34"/>
                  </a:lnTo>
                  <a:lnTo>
                    <a:pt x="1880" y="33"/>
                  </a:lnTo>
                  <a:lnTo>
                    <a:pt x="1877" y="33"/>
                  </a:lnTo>
                  <a:lnTo>
                    <a:pt x="1860" y="33"/>
                  </a:lnTo>
                  <a:close/>
                  <a:moveTo>
                    <a:pt x="1928" y="56"/>
                  </a:moveTo>
                  <a:lnTo>
                    <a:pt x="1928" y="84"/>
                  </a:lnTo>
                  <a:lnTo>
                    <a:pt x="1928" y="91"/>
                  </a:lnTo>
                  <a:lnTo>
                    <a:pt x="1928" y="97"/>
                  </a:lnTo>
                  <a:lnTo>
                    <a:pt x="1927" y="102"/>
                  </a:lnTo>
                  <a:lnTo>
                    <a:pt x="1924" y="107"/>
                  </a:lnTo>
                  <a:lnTo>
                    <a:pt x="1923" y="113"/>
                  </a:lnTo>
                  <a:lnTo>
                    <a:pt x="1920" y="117"/>
                  </a:lnTo>
                  <a:lnTo>
                    <a:pt x="1918" y="121"/>
                  </a:lnTo>
                  <a:lnTo>
                    <a:pt x="1915" y="124"/>
                  </a:lnTo>
                  <a:lnTo>
                    <a:pt x="1912" y="128"/>
                  </a:lnTo>
                  <a:lnTo>
                    <a:pt x="1908" y="131"/>
                  </a:lnTo>
                  <a:lnTo>
                    <a:pt x="1903" y="133"/>
                  </a:lnTo>
                  <a:lnTo>
                    <a:pt x="1899" y="135"/>
                  </a:lnTo>
                  <a:lnTo>
                    <a:pt x="1894" y="136"/>
                  </a:lnTo>
                  <a:lnTo>
                    <a:pt x="1888" y="138"/>
                  </a:lnTo>
                  <a:lnTo>
                    <a:pt x="1883" y="138"/>
                  </a:lnTo>
                  <a:lnTo>
                    <a:pt x="1877" y="138"/>
                  </a:lnTo>
                  <a:lnTo>
                    <a:pt x="1860" y="138"/>
                  </a:lnTo>
                  <a:lnTo>
                    <a:pt x="1860" y="221"/>
                  </a:lnTo>
                  <a:lnTo>
                    <a:pt x="1826" y="221"/>
                  </a:lnTo>
                  <a:lnTo>
                    <a:pt x="1826" y="2"/>
                  </a:lnTo>
                  <a:lnTo>
                    <a:pt x="1877" y="2"/>
                  </a:lnTo>
                  <a:lnTo>
                    <a:pt x="1883" y="2"/>
                  </a:lnTo>
                  <a:lnTo>
                    <a:pt x="1888" y="3"/>
                  </a:lnTo>
                  <a:lnTo>
                    <a:pt x="1894" y="4"/>
                  </a:lnTo>
                  <a:lnTo>
                    <a:pt x="1899" y="5"/>
                  </a:lnTo>
                  <a:lnTo>
                    <a:pt x="1903" y="7"/>
                  </a:lnTo>
                  <a:lnTo>
                    <a:pt x="1908" y="9"/>
                  </a:lnTo>
                  <a:lnTo>
                    <a:pt x="1912" y="12"/>
                  </a:lnTo>
                  <a:lnTo>
                    <a:pt x="1915" y="15"/>
                  </a:lnTo>
                  <a:lnTo>
                    <a:pt x="1918" y="20"/>
                  </a:lnTo>
                  <a:lnTo>
                    <a:pt x="1920" y="23"/>
                  </a:lnTo>
                  <a:lnTo>
                    <a:pt x="1923" y="28"/>
                  </a:lnTo>
                  <a:lnTo>
                    <a:pt x="1924" y="32"/>
                  </a:lnTo>
                  <a:lnTo>
                    <a:pt x="1927" y="38"/>
                  </a:lnTo>
                  <a:lnTo>
                    <a:pt x="1928" y="43"/>
                  </a:lnTo>
                  <a:lnTo>
                    <a:pt x="1928" y="49"/>
                  </a:lnTo>
                  <a:lnTo>
                    <a:pt x="1928" y="56"/>
                  </a:lnTo>
                  <a:close/>
                  <a:moveTo>
                    <a:pt x="1733" y="33"/>
                  </a:moveTo>
                  <a:lnTo>
                    <a:pt x="1733" y="107"/>
                  </a:lnTo>
                  <a:lnTo>
                    <a:pt x="1749" y="107"/>
                  </a:lnTo>
                  <a:lnTo>
                    <a:pt x="1753" y="107"/>
                  </a:lnTo>
                  <a:lnTo>
                    <a:pt x="1756" y="106"/>
                  </a:lnTo>
                  <a:lnTo>
                    <a:pt x="1759" y="104"/>
                  </a:lnTo>
                  <a:lnTo>
                    <a:pt x="1762" y="103"/>
                  </a:lnTo>
                  <a:lnTo>
                    <a:pt x="1764" y="100"/>
                  </a:lnTo>
                  <a:lnTo>
                    <a:pt x="1765" y="96"/>
                  </a:lnTo>
                  <a:lnTo>
                    <a:pt x="1766" y="92"/>
                  </a:lnTo>
                  <a:lnTo>
                    <a:pt x="1766" y="86"/>
                  </a:lnTo>
                  <a:lnTo>
                    <a:pt x="1766" y="53"/>
                  </a:lnTo>
                  <a:lnTo>
                    <a:pt x="1766" y="48"/>
                  </a:lnTo>
                  <a:lnTo>
                    <a:pt x="1765" y="44"/>
                  </a:lnTo>
                  <a:lnTo>
                    <a:pt x="1764" y="40"/>
                  </a:lnTo>
                  <a:lnTo>
                    <a:pt x="1762" y="38"/>
                  </a:lnTo>
                  <a:lnTo>
                    <a:pt x="1759" y="36"/>
                  </a:lnTo>
                  <a:lnTo>
                    <a:pt x="1756" y="34"/>
                  </a:lnTo>
                  <a:lnTo>
                    <a:pt x="1753" y="33"/>
                  </a:lnTo>
                  <a:lnTo>
                    <a:pt x="1749" y="33"/>
                  </a:lnTo>
                  <a:lnTo>
                    <a:pt x="1733" y="33"/>
                  </a:lnTo>
                  <a:close/>
                  <a:moveTo>
                    <a:pt x="1801" y="56"/>
                  </a:moveTo>
                  <a:lnTo>
                    <a:pt x="1801" y="84"/>
                  </a:lnTo>
                  <a:lnTo>
                    <a:pt x="1801" y="91"/>
                  </a:lnTo>
                  <a:lnTo>
                    <a:pt x="1800" y="97"/>
                  </a:lnTo>
                  <a:lnTo>
                    <a:pt x="1799" y="102"/>
                  </a:lnTo>
                  <a:lnTo>
                    <a:pt x="1798" y="107"/>
                  </a:lnTo>
                  <a:lnTo>
                    <a:pt x="1795" y="113"/>
                  </a:lnTo>
                  <a:lnTo>
                    <a:pt x="1793" y="117"/>
                  </a:lnTo>
                  <a:lnTo>
                    <a:pt x="1790" y="121"/>
                  </a:lnTo>
                  <a:lnTo>
                    <a:pt x="1788" y="124"/>
                  </a:lnTo>
                  <a:lnTo>
                    <a:pt x="1784" y="128"/>
                  </a:lnTo>
                  <a:lnTo>
                    <a:pt x="1781" y="131"/>
                  </a:lnTo>
                  <a:lnTo>
                    <a:pt x="1776" y="133"/>
                  </a:lnTo>
                  <a:lnTo>
                    <a:pt x="1771" y="135"/>
                  </a:lnTo>
                  <a:lnTo>
                    <a:pt x="1767" y="136"/>
                  </a:lnTo>
                  <a:lnTo>
                    <a:pt x="1762" y="138"/>
                  </a:lnTo>
                  <a:lnTo>
                    <a:pt x="1755" y="138"/>
                  </a:lnTo>
                  <a:lnTo>
                    <a:pt x="1749" y="138"/>
                  </a:lnTo>
                  <a:lnTo>
                    <a:pt x="1733" y="138"/>
                  </a:lnTo>
                  <a:lnTo>
                    <a:pt x="1733" y="221"/>
                  </a:lnTo>
                  <a:lnTo>
                    <a:pt x="1698" y="221"/>
                  </a:lnTo>
                  <a:lnTo>
                    <a:pt x="1698" y="2"/>
                  </a:lnTo>
                  <a:lnTo>
                    <a:pt x="1749" y="2"/>
                  </a:lnTo>
                  <a:lnTo>
                    <a:pt x="1755" y="2"/>
                  </a:lnTo>
                  <a:lnTo>
                    <a:pt x="1762" y="3"/>
                  </a:lnTo>
                  <a:lnTo>
                    <a:pt x="1767" y="4"/>
                  </a:lnTo>
                  <a:lnTo>
                    <a:pt x="1771" y="5"/>
                  </a:lnTo>
                  <a:lnTo>
                    <a:pt x="1776" y="7"/>
                  </a:lnTo>
                  <a:lnTo>
                    <a:pt x="1781" y="9"/>
                  </a:lnTo>
                  <a:lnTo>
                    <a:pt x="1784" y="12"/>
                  </a:lnTo>
                  <a:lnTo>
                    <a:pt x="1788" y="15"/>
                  </a:lnTo>
                  <a:lnTo>
                    <a:pt x="1790" y="20"/>
                  </a:lnTo>
                  <a:lnTo>
                    <a:pt x="1793" y="23"/>
                  </a:lnTo>
                  <a:lnTo>
                    <a:pt x="1795" y="28"/>
                  </a:lnTo>
                  <a:lnTo>
                    <a:pt x="1798" y="32"/>
                  </a:lnTo>
                  <a:lnTo>
                    <a:pt x="1799" y="38"/>
                  </a:lnTo>
                  <a:lnTo>
                    <a:pt x="1800" y="43"/>
                  </a:lnTo>
                  <a:lnTo>
                    <a:pt x="1801" y="49"/>
                  </a:lnTo>
                  <a:lnTo>
                    <a:pt x="1801" y="56"/>
                  </a:lnTo>
                  <a:close/>
                  <a:moveTo>
                    <a:pt x="1599" y="2"/>
                  </a:moveTo>
                  <a:lnTo>
                    <a:pt x="1599" y="171"/>
                  </a:lnTo>
                  <a:lnTo>
                    <a:pt x="1599" y="176"/>
                  </a:lnTo>
                  <a:lnTo>
                    <a:pt x="1600" y="180"/>
                  </a:lnTo>
                  <a:lnTo>
                    <a:pt x="1601" y="183"/>
                  </a:lnTo>
                  <a:lnTo>
                    <a:pt x="1602" y="185"/>
                  </a:lnTo>
                  <a:lnTo>
                    <a:pt x="1604" y="188"/>
                  </a:lnTo>
                  <a:lnTo>
                    <a:pt x="1606" y="190"/>
                  </a:lnTo>
                  <a:lnTo>
                    <a:pt x="1609" y="191"/>
                  </a:lnTo>
                  <a:lnTo>
                    <a:pt x="1612" y="192"/>
                  </a:lnTo>
                  <a:lnTo>
                    <a:pt x="1617" y="192"/>
                  </a:lnTo>
                  <a:lnTo>
                    <a:pt x="1621" y="192"/>
                  </a:lnTo>
                  <a:lnTo>
                    <a:pt x="1624" y="191"/>
                  </a:lnTo>
                  <a:lnTo>
                    <a:pt x="1627" y="190"/>
                  </a:lnTo>
                  <a:lnTo>
                    <a:pt x="1629" y="188"/>
                  </a:lnTo>
                  <a:lnTo>
                    <a:pt x="1631" y="185"/>
                  </a:lnTo>
                  <a:lnTo>
                    <a:pt x="1634" y="180"/>
                  </a:lnTo>
                  <a:lnTo>
                    <a:pt x="1634" y="176"/>
                  </a:lnTo>
                  <a:lnTo>
                    <a:pt x="1635" y="171"/>
                  </a:lnTo>
                  <a:lnTo>
                    <a:pt x="1635" y="2"/>
                  </a:lnTo>
                  <a:lnTo>
                    <a:pt x="1667" y="2"/>
                  </a:lnTo>
                  <a:lnTo>
                    <a:pt x="1667" y="169"/>
                  </a:lnTo>
                  <a:lnTo>
                    <a:pt x="1666" y="175"/>
                  </a:lnTo>
                  <a:lnTo>
                    <a:pt x="1666" y="181"/>
                  </a:lnTo>
                  <a:lnTo>
                    <a:pt x="1665" y="187"/>
                  </a:lnTo>
                  <a:lnTo>
                    <a:pt x="1663" y="192"/>
                  </a:lnTo>
                  <a:lnTo>
                    <a:pt x="1662" y="197"/>
                  </a:lnTo>
                  <a:lnTo>
                    <a:pt x="1660" y="202"/>
                  </a:lnTo>
                  <a:lnTo>
                    <a:pt x="1657" y="206"/>
                  </a:lnTo>
                  <a:lnTo>
                    <a:pt x="1654" y="209"/>
                  </a:lnTo>
                  <a:lnTo>
                    <a:pt x="1651" y="212"/>
                  </a:lnTo>
                  <a:lnTo>
                    <a:pt x="1646" y="215"/>
                  </a:lnTo>
                  <a:lnTo>
                    <a:pt x="1644" y="216"/>
                  </a:lnTo>
                  <a:lnTo>
                    <a:pt x="1642" y="218"/>
                  </a:lnTo>
                  <a:lnTo>
                    <a:pt x="1638" y="220"/>
                  </a:lnTo>
                  <a:lnTo>
                    <a:pt x="1633" y="222"/>
                  </a:lnTo>
                  <a:lnTo>
                    <a:pt x="1627" y="223"/>
                  </a:lnTo>
                  <a:lnTo>
                    <a:pt x="1622" y="224"/>
                  </a:lnTo>
                  <a:lnTo>
                    <a:pt x="1616" y="224"/>
                  </a:lnTo>
                  <a:lnTo>
                    <a:pt x="1609" y="224"/>
                  </a:lnTo>
                  <a:lnTo>
                    <a:pt x="1604" y="223"/>
                  </a:lnTo>
                  <a:lnTo>
                    <a:pt x="1599" y="222"/>
                  </a:lnTo>
                  <a:lnTo>
                    <a:pt x="1593" y="220"/>
                  </a:lnTo>
                  <a:lnTo>
                    <a:pt x="1589" y="218"/>
                  </a:lnTo>
                  <a:lnTo>
                    <a:pt x="1585" y="215"/>
                  </a:lnTo>
                  <a:lnTo>
                    <a:pt x="1581" y="212"/>
                  </a:lnTo>
                  <a:lnTo>
                    <a:pt x="1578" y="209"/>
                  </a:lnTo>
                  <a:lnTo>
                    <a:pt x="1574" y="206"/>
                  </a:lnTo>
                  <a:lnTo>
                    <a:pt x="1571" y="202"/>
                  </a:lnTo>
                  <a:lnTo>
                    <a:pt x="1569" y="197"/>
                  </a:lnTo>
                  <a:lnTo>
                    <a:pt x="1567" y="192"/>
                  </a:lnTo>
                  <a:lnTo>
                    <a:pt x="1566" y="187"/>
                  </a:lnTo>
                  <a:lnTo>
                    <a:pt x="1565" y="181"/>
                  </a:lnTo>
                  <a:lnTo>
                    <a:pt x="1565" y="175"/>
                  </a:lnTo>
                  <a:lnTo>
                    <a:pt x="1564" y="169"/>
                  </a:lnTo>
                  <a:lnTo>
                    <a:pt x="1564" y="2"/>
                  </a:lnTo>
                  <a:lnTo>
                    <a:pt x="1599" y="2"/>
                  </a:lnTo>
                  <a:close/>
                  <a:moveTo>
                    <a:pt x="1463" y="152"/>
                  </a:moveTo>
                  <a:lnTo>
                    <a:pt x="1496" y="152"/>
                  </a:lnTo>
                  <a:lnTo>
                    <a:pt x="1480" y="41"/>
                  </a:lnTo>
                  <a:lnTo>
                    <a:pt x="1463" y="152"/>
                  </a:lnTo>
                  <a:close/>
                  <a:moveTo>
                    <a:pt x="1542" y="221"/>
                  </a:moveTo>
                  <a:lnTo>
                    <a:pt x="1508" y="221"/>
                  </a:lnTo>
                  <a:lnTo>
                    <a:pt x="1501" y="181"/>
                  </a:lnTo>
                  <a:lnTo>
                    <a:pt x="1459" y="181"/>
                  </a:lnTo>
                  <a:lnTo>
                    <a:pt x="1453" y="221"/>
                  </a:lnTo>
                  <a:lnTo>
                    <a:pt x="1421" y="221"/>
                  </a:lnTo>
                  <a:lnTo>
                    <a:pt x="1457" y="2"/>
                  </a:lnTo>
                  <a:lnTo>
                    <a:pt x="1507" y="2"/>
                  </a:lnTo>
                  <a:lnTo>
                    <a:pt x="1542" y="221"/>
                  </a:lnTo>
                  <a:close/>
                  <a:moveTo>
                    <a:pt x="1339" y="134"/>
                  </a:moveTo>
                  <a:lnTo>
                    <a:pt x="1328" y="154"/>
                  </a:lnTo>
                  <a:lnTo>
                    <a:pt x="1328" y="221"/>
                  </a:lnTo>
                  <a:lnTo>
                    <a:pt x="1293" y="221"/>
                  </a:lnTo>
                  <a:lnTo>
                    <a:pt x="1293" y="2"/>
                  </a:lnTo>
                  <a:lnTo>
                    <a:pt x="1328" y="2"/>
                  </a:lnTo>
                  <a:lnTo>
                    <a:pt x="1328" y="97"/>
                  </a:lnTo>
                  <a:lnTo>
                    <a:pt x="1372" y="2"/>
                  </a:lnTo>
                  <a:lnTo>
                    <a:pt x="1407" y="2"/>
                  </a:lnTo>
                  <a:lnTo>
                    <a:pt x="1359" y="99"/>
                  </a:lnTo>
                  <a:lnTo>
                    <a:pt x="1407" y="221"/>
                  </a:lnTo>
                  <a:lnTo>
                    <a:pt x="1371" y="221"/>
                  </a:lnTo>
                  <a:lnTo>
                    <a:pt x="1339" y="134"/>
                  </a:lnTo>
                  <a:close/>
                  <a:moveTo>
                    <a:pt x="1204" y="94"/>
                  </a:moveTo>
                  <a:lnTo>
                    <a:pt x="1252" y="94"/>
                  </a:lnTo>
                  <a:lnTo>
                    <a:pt x="1252" y="125"/>
                  </a:lnTo>
                  <a:lnTo>
                    <a:pt x="1204" y="125"/>
                  </a:lnTo>
                  <a:lnTo>
                    <a:pt x="1204" y="190"/>
                  </a:lnTo>
                  <a:lnTo>
                    <a:pt x="1263" y="190"/>
                  </a:lnTo>
                  <a:lnTo>
                    <a:pt x="1263" y="221"/>
                  </a:lnTo>
                  <a:lnTo>
                    <a:pt x="1170" y="221"/>
                  </a:lnTo>
                  <a:lnTo>
                    <a:pt x="1170" y="2"/>
                  </a:lnTo>
                  <a:lnTo>
                    <a:pt x="1263" y="2"/>
                  </a:lnTo>
                  <a:lnTo>
                    <a:pt x="1263" y="33"/>
                  </a:lnTo>
                  <a:lnTo>
                    <a:pt x="1204" y="33"/>
                  </a:lnTo>
                  <a:lnTo>
                    <a:pt x="1204" y="94"/>
                  </a:lnTo>
                  <a:close/>
                  <a:moveTo>
                    <a:pt x="1077" y="134"/>
                  </a:moveTo>
                  <a:lnTo>
                    <a:pt x="1067" y="154"/>
                  </a:lnTo>
                  <a:lnTo>
                    <a:pt x="1067" y="221"/>
                  </a:lnTo>
                  <a:lnTo>
                    <a:pt x="1033" y="221"/>
                  </a:lnTo>
                  <a:lnTo>
                    <a:pt x="1033" y="2"/>
                  </a:lnTo>
                  <a:lnTo>
                    <a:pt x="1067" y="2"/>
                  </a:lnTo>
                  <a:lnTo>
                    <a:pt x="1067" y="97"/>
                  </a:lnTo>
                  <a:lnTo>
                    <a:pt x="1112" y="2"/>
                  </a:lnTo>
                  <a:lnTo>
                    <a:pt x="1146" y="2"/>
                  </a:lnTo>
                  <a:lnTo>
                    <a:pt x="1098" y="99"/>
                  </a:lnTo>
                  <a:lnTo>
                    <a:pt x="1146" y="221"/>
                  </a:lnTo>
                  <a:lnTo>
                    <a:pt x="1111" y="221"/>
                  </a:lnTo>
                  <a:lnTo>
                    <a:pt x="1077" y="134"/>
                  </a:lnTo>
                  <a:close/>
                  <a:moveTo>
                    <a:pt x="965" y="2"/>
                  </a:moveTo>
                  <a:lnTo>
                    <a:pt x="999" y="2"/>
                  </a:lnTo>
                  <a:lnTo>
                    <a:pt x="999" y="221"/>
                  </a:lnTo>
                  <a:lnTo>
                    <a:pt x="965" y="221"/>
                  </a:lnTo>
                  <a:lnTo>
                    <a:pt x="965" y="2"/>
                  </a:lnTo>
                  <a:close/>
                  <a:moveTo>
                    <a:pt x="898" y="2"/>
                  </a:moveTo>
                  <a:lnTo>
                    <a:pt x="932" y="2"/>
                  </a:lnTo>
                  <a:lnTo>
                    <a:pt x="932" y="221"/>
                  </a:lnTo>
                  <a:lnTo>
                    <a:pt x="898" y="221"/>
                  </a:lnTo>
                  <a:lnTo>
                    <a:pt x="898" y="2"/>
                  </a:lnTo>
                  <a:close/>
                  <a:moveTo>
                    <a:pt x="783" y="2"/>
                  </a:moveTo>
                  <a:lnTo>
                    <a:pt x="818" y="2"/>
                  </a:lnTo>
                  <a:lnTo>
                    <a:pt x="818" y="190"/>
                  </a:lnTo>
                  <a:lnTo>
                    <a:pt x="875" y="190"/>
                  </a:lnTo>
                  <a:lnTo>
                    <a:pt x="875" y="221"/>
                  </a:lnTo>
                  <a:lnTo>
                    <a:pt x="783" y="221"/>
                  </a:lnTo>
                  <a:lnTo>
                    <a:pt x="783" y="2"/>
                  </a:lnTo>
                  <a:close/>
                  <a:moveTo>
                    <a:pt x="705" y="0"/>
                  </a:moveTo>
                  <a:lnTo>
                    <a:pt x="711" y="0"/>
                  </a:lnTo>
                  <a:lnTo>
                    <a:pt x="717" y="0"/>
                  </a:lnTo>
                  <a:lnTo>
                    <a:pt x="722" y="1"/>
                  </a:lnTo>
                  <a:lnTo>
                    <a:pt x="727" y="3"/>
                  </a:lnTo>
                  <a:lnTo>
                    <a:pt x="732" y="5"/>
                  </a:lnTo>
                  <a:lnTo>
                    <a:pt x="736" y="7"/>
                  </a:lnTo>
                  <a:lnTo>
                    <a:pt x="740" y="10"/>
                  </a:lnTo>
                  <a:lnTo>
                    <a:pt x="743" y="13"/>
                  </a:lnTo>
                  <a:lnTo>
                    <a:pt x="746" y="18"/>
                  </a:lnTo>
                  <a:lnTo>
                    <a:pt x="748" y="22"/>
                  </a:lnTo>
                  <a:lnTo>
                    <a:pt x="751" y="26"/>
                  </a:lnTo>
                  <a:lnTo>
                    <a:pt x="753" y="31"/>
                  </a:lnTo>
                  <a:lnTo>
                    <a:pt x="754" y="37"/>
                  </a:lnTo>
                  <a:lnTo>
                    <a:pt x="755" y="42"/>
                  </a:lnTo>
                  <a:lnTo>
                    <a:pt x="756" y="48"/>
                  </a:lnTo>
                  <a:lnTo>
                    <a:pt x="756" y="55"/>
                  </a:lnTo>
                  <a:lnTo>
                    <a:pt x="756" y="61"/>
                  </a:lnTo>
                  <a:lnTo>
                    <a:pt x="723" y="61"/>
                  </a:lnTo>
                  <a:lnTo>
                    <a:pt x="723" y="52"/>
                  </a:lnTo>
                  <a:lnTo>
                    <a:pt x="723" y="46"/>
                  </a:lnTo>
                  <a:lnTo>
                    <a:pt x="722" y="42"/>
                  </a:lnTo>
                  <a:lnTo>
                    <a:pt x="721" y="39"/>
                  </a:lnTo>
                  <a:lnTo>
                    <a:pt x="719" y="36"/>
                  </a:lnTo>
                  <a:lnTo>
                    <a:pt x="717" y="33"/>
                  </a:lnTo>
                  <a:lnTo>
                    <a:pt x="714" y="31"/>
                  </a:lnTo>
                  <a:lnTo>
                    <a:pt x="710" y="30"/>
                  </a:lnTo>
                  <a:lnTo>
                    <a:pt x="706" y="30"/>
                  </a:lnTo>
                  <a:lnTo>
                    <a:pt x="702" y="30"/>
                  </a:lnTo>
                  <a:lnTo>
                    <a:pt x="699" y="31"/>
                  </a:lnTo>
                  <a:lnTo>
                    <a:pt x="698" y="32"/>
                  </a:lnTo>
                  <a:lnTo>
                    <a:pt x="696" y="33"/>
                  </a:lnTo>
                  <a:lnTo>
                    <a:pt x="693" y="36"/>
                  </a:lnTo>
                  <a:lnTo>
                    <a:pt x="691" y="39"/>
                  </a:lnTo>
                  <a:lnTo>
                    <a:pt x="690" y="42"/>
                  </a:lnTo>
                  <a:lnTo>
                    <a:pt x="689" y="46"/>
                  </a:lnTo>
                  <a:lnTo>
                    <a:pt x="689" y="52"/>
                  </a:lnTo>
                  <a:lnTo>
                    <a:pt x="689" y="56"/>
                  </a:lnTo>
                  <a:lnTo>
                    <a:pt x="689" y="60"/>
                  </a:lnTo>
                  <a:lnTo>
                    <a:pt x="691" y="67"/>
                  </a:lnTo>
                  <a:lnTo>
                    <a:pt x="693" y="70"/>
                  </a:lnTo>
                  <a:lnTo>
                    <a:pt x="696" y="74"/>
                  </a:lnTo>
                  <a:lnTo>
                    <a:pt x="700" y="80"/>
                  </a:lnTo>
                  <a:lnTo>
                    <a:pt x="704" y="86"/>
                  </a:lnTo>
                  <a:lnTo>
                    <a:pt x="710" y="92"/>
                  </a:lnTo>
                  <a:lnTo>
                    <a:pt x="722" y="103"/>
                  </a:lnTo>
                  <a:lnTo>
                    <a:pt x="735" y="116"/>
                  </a:lnTo>
                  <a:lnTo>
                    <a:pt x="741" y="122"/>
                  </a:lnTo>
                  <a:lnTo>
                    <a:pt x="745" y="130"/>
                  </a:lnTo>
                  <a:lnTo>
                    <a:pt x="750" y="138"/>
                  </a:lnTo>
                  <a:lnTo>
                    <a:pt x="754" y="148"/>
                  </a:lnTo>
                  <a:lnTo>
                    <a:pt x="756" y="157"/>
                  </a:lnTo>
                  <a:lnTo>
                    <a:pt x="756" y="162"/>
                  </a:lnTo>
                  <a:lnTo>
                    <a:pt x="756" y="168"/>
                  </a:lnTo>
                  <a:lnTo>
                    <a:pt x="756" y="175"/>
                  </a:lnTo>
                  <a:lnTo>
                    <a:pt x="756" y="180"/>
                  </a:lnTo>
                  <a:lnTo>
                    <a:pt x="755" y="187"/>
                  </a:lnTo>
                  <a:lnTo>
                    <a:pt x="753" y="192"/>
                  </a:lnTo>
                  <a:lnTo>
                    <a:pt x="752" y="196"/>
                  </a:lnTo>
                  <a:lnTo>
                    <a:pt x="748" y="202"/>
                  </a:lnTo>
                  <a:lnTo>
                    <a:pt x="746" y="205"/>
                  </a:lnTo>
                  <a:lnTo>
                    <a:pt x="743" y="209"/>
                  </a:lnTo>
                  <a:lnTo>
                    <a:pt x="740" y="212"/>
                  </a:lnTo>
                  <a:lnTo>
                    <a:pt x="736" y="215"/>
                  </a:lnTo>
                  <a:lnTo>
                    <a:pt x="734" y="216"/>
                  </a:lnTo>
                  <a:lnTo>
                    <a:pt x="732" y="217"/>
                  </a:lnTo>
                  <a:lnTo>
                    <a:pt x="727" y="220"/>
                  </a:lnTo>
                  <a:lnTo>
                    <a:pt x="722" y="222"/>
                  </a:lnTo>
                  <a:lnTo>
                    <a:pt x="717" y="223"/>
                  </a:lnTo>
                  <a:lnTo>
                    <a:pt x="711" y="223"/>
                  </a:lnTo>
                  <a:lnTo>
                    <a:pt x="705" y="224"/>
                  </a:lnTo>
                  <a:lnTo>
                    <a:pt x="699" y="223"/>
                  </a:lnTo>
                  <a:lnTo>
                    <a:pt x="692" y="223"/>
                  </a:lnTo>
                  <a:lnTo>
                    <a:pt x="687" y="222"/>
                  </a:lnTo>
                  <a:lnTo>
                    <a:pt x="683" y="220"/>
                  </a:lnTo>
                  <a:lnTo>
                    <a:pt x="678" y="217"/>
                  </a:lnTo>
                  <a:lnTo>
                    <a:pt x="673" y="215"/>
                  </a:lnTo>
                  <a:lnTo>
                    <a:pt x="670" y="212"/>
                  </a:lnTo>
                  <a:lnTo>
                    <a:pt x="666" y="209"/>
                  </a:lnTo>
                  <a:lnTo>
                    <a:pt x="664" y="205"/>
                  </a:lnTo>
                  <a:lnTo>
                    <a:pt x="661" y="202"/>
                  </a:lnTo>
                  <a:lnTo>
                    <a:pt x="659" y="196"/>
                  </a:lnTo>
                  <a:lnTo>
                    <a:pt x="656" y="192"/>
                  </a:lnTo>
                  <a:lnTo>
                    <a:pt x="655" y="187"/>
                  </a:lnTo>
                  <a:lnTo>
                    <a:pt x="654" y="180"/>
                  </a:lnTo>
                  <a:lnTo>
                    <a:pt x="653" y="175"/>
                  </a:lnTo>
                  <a:lnTo>
                    <a:pt x="653" y="168"/>
                  </a:lnTo>
                  <a:lnTo>
                    <a:pt x="653" y="155"/>
                  </a:lnTo>
                  <a:lnTo>
                    <a:pt x="686" y="155"/>
                  </a:lnTo>
                  <a:lnTo>
                    <a:pt x="686" y="171"/>
                  </a:lnTo>
                  <a:lnTo>
                    <a:pt x="686" y="176"/>
                  </a:lnTo>
                  <a:lnTo>
                    <a:pt x="687" y="180"/>
                  </a:lnTo>
                  <a:lnTo>
                    <a:pt x="688" y="183"/>
                  </a:lnTo>
                  <a:lnTo>
                    <a:pt x="689" y="184"/>
                  </a:lnTo>
                  <a:lnTo>
                    <a:pt x="691" y="187"/>
                  </a:lnTo>
                  <a:lnTo>
                    <a:pt x="693" y="189"/>
                  </a:lnTo>
                  <a:lnTo>
                    <a:pt x="697" y="191"/>
                  </a:lnTo>
                  <a:lnTo>
                    <a:pt x="700" y="191"/>
                  </a:lnTo>
                  <a:lnTo>
                    <a:pt x="704" y="192"/>
                  </a:lnTo>
                  <a:lnTo>
                    <a:pt x="708" y="191"/>
                  </a:lnTo>
                  <a:lnTo>
                    <a:pt x="711" y="191"/>
                  </a:lnTo>
                  <a:lnTo>
                    <a:pt x="715" y="189"/>
                  </a:lnTo>
                  <a:lnTo>
                    <a:pt x="717" y="187"/>
                  </a:lnTo>
                  <a:lnTo>
                    <a:pt x="719" y="184"/>
                  </a:lnTo>
                  <a:lnTo>
                    <a:pt x="721" y="180"/>
                  </a:lnTo>
                  <a:lnTo>
                    <a:pt x="721" y="176"/>
                  </a:lnTo>
                  <a:lnTo>
                    <a:pt x="722" y="171"/>
                  </a:lnTo>
                  <a:lnTo>
                    <a:pt x="722" y="167"/>
                  </a:lnTo>
                  <a:lnTo>
                    <a:pt x="721" y="162"/>
                  </a:lnTo>
                  <a:lnTo>
                    <a:pt x="719" y="155"/>
                  </a:lnTo>
                  <a:lnTo>
                    <a:pt x="718" y="152"/>
                  </a:lnTo>
                  <a:lnTo>
                    <a:pt x="716" y="149"/>
                  </a:lnTo>
                  <a:lnTo>
                    <a:pt x="711" y="142"/>
                  </a:lnTo>
                  <a:lnTo>
                    <a:pt x="706" y="136"/>
                  </a:lnTo>
                  <a:lnTo>
                    <a:pt x="701" y="131"/>
                  </a:lnTo>
                  <a:lnTo>
                    <a:pt x="688" y="119"/>
                  </a:lnTo>
                  <a:lnTo>
                    <a:pt x="675" y="106"/>
                  </a:lnTo>
                  <a:lnTo>
                    <a:pt x="670" y="100"/>
                  </a:lnTo>
                  <a:lnTo>
                    <a:pt x="665" y="93"/>
                  </a:lnTo>
                  <a:lnTo>
                    <a:pt x="661" y="84"/>
                  </a:lnTo>
                  <a:lnTo>
                    <a:pt x="658" y="76"/>
                  </a:lnTo>
                  <a:lnTo>
                    <a:pt x="655" y="65"/>
                  </a:lnTo>
                  <a:lnTo>
                    <a:pt x="654" y="60"/>
                  </a:lnTo>
                  <a:lnTo>
                    <a:pt x="654" y="55"/>
                  </a:lnTo>
                  <a:lnTo>
                    <a:pt x="654" y="48"/>
                  </a:lnTo>
                  <a:lnTo>
                    <a:pt x="655" y="42"/>
                  </a:lnTo>
                  <a:lnTo>
                    <a:pt x="656" y="37"/>
                  </a:lnTo>
                  <a:lnTo>
                    <a:pt x="658" y="31"/>
                  </a:lnTo>
                  <a:lnTo>
                    <a:pt x="660" y="26"/>
                  </a:lnTo>
                  <a:lnTo>
                    <a:pt x="662" y="22"/>
                  </a:lnTo>
                  <a:lnTo>
                    <a:pt x="664" y="18"/>
                  </a:lnTo>
                  <a:lnTo>
                    <a:pt x="667" y="13"/>
                  </a:lnTo>
                  <a:lnTo>
                    <a:pt x="670" y="10"/>
                  </a:lnTo>
                  <a:lnTo>
                    <a:pt x="674" y="7"/>
                  </a:lnTo>
                  <a:lnTo>
                    <a:pt x="677" y="6"/>
                  </a:lnTo>
                  <a:lnTo>
                    <a:pt x="679" y="5"/>
                  </a:lnTo>
                  <a:lnTo>
                    <a:pt x="683" y="3"/>
                  </a:lnTo>
                  <a:lnTo>
                    <a:pt x="688" y="1"/>
                  </a:lnTo>
                  <a:lnTo>
                    <a:pt x="693" y="0"/>
                  </a:lnTo>
                  <a:lnTo>
                    <a:pt x="699" y="0"/>
                  </a:lnTo>
                  <a:lnTo>
                    <a:pt x="705" y="0"/>
                  </a:lnTo>
                  <a:close/>
                  <a:moveTo>
                    <a:pt x="592" y="2"/>
                  </a:moveTo>
                  <a:lnTo>
                    <a:pt x="626" y="2"/>
                  </a:lnTo>
                  <a:lnTo>
                    <a:pt x="626" y="221"/>
                  </a:lnTo>
                  <a:lnTo>
                    <a:pt x="592" y="221"/>
                  </a:lnTo>
                  <a:lnTo>
                    <a:pt x="592" y="2"/>
                  </a:lnTo>
                  <a:close/>
                  <a:moveTo>
                    <a:pt x="491" y="171"/>
                  </a:moveTo>
                  <a:lnTo>
                    <a:pt x="491" y="176"/>
                  </a:lnTo>
                  <a:lnTo>
                    <a:pt x="493" y="180"/>
                  </a:lnTo>
                  <a:lnTo>
                    <a:pt x="494" y="183"/>
                  </a:lnTo>
                  <a:lnTo>
                    <a:pt x="494" y="185"/>
                  </a:lnTo>
                  <a:lnTo>
                    <a:pt x="496" y="187"/>
                  </a:lnTo>
                  <a:lnTo>
                    <a:pt x="499" y="189"/>
                  </a:lnTo>
                  <a:lnTo>
                    <a:pt x="502" y="191"/>
                  </a:lnTo>
                  <a:lnTo>
                    <a:pt x="505" y="192"/>
                  </a:lnTo>
                  <a:lnTo>
                    <a:pt x="509" y="192"/>
                  </a:lnTo>
                  <a:lnTo>
                    <a:pt x="513" y="192"/>
                  </a:lnTo>
                  <a:lnTo>
                    <a:pt x="517" y="191"/>
                  </a:lnTo>
                  <a:lnTo>
                    <a:pt x="520" y="189"/>
                  </a:lnTo>
                  <a:lnTo>
                    <a:pt x="522" y="187"/>
                  </a:lnTo>
                  <a:lnTo>
                    <a:pt x="524" y="185"/>
                  </a:lnTo>
                  <a:lnTo>
                    <a:pt x="525" y="180"/>
                  </a:lnTo>
                  <a:lnTo>
                    <a:pt x="526" y="176"/>
                  </a:lnTo>
                  <a:lnTo>
                    <a:pt x="527" y="171"/>
                  </a:lnTo>
                  <a:lnTo>
                    <a:pt x="527" y="52"/>
                  </a:lnTo>
                  <a:lnTo>
                    <a:pt x="526" y="46"/>
                  </a:lnTo>
                  <a:lnTo>
                    <a:pt x="525" y="42"/>
                  </a:lnTo>
                  <a:lnTo>
                    <a:pt x="525" y="40"/>
                  </a:lnTo>
                  <a:lnTo>
                    <a:pt x="524" y="39"/>
                  </a:lnTo>
                  <a:lnTo>
                    <a:pt x="522" y="36"/>
                  </a:lnTo>
                  <a:lnTo>
                    <a:pt x="520" y="33"/>
                  </a:lnTo>
                  <a:lnTo>
                    <a:pt x="517" y="31"/>
                  </a:lnTo>
                  <a:lnTo>
                    <a:pt x="513" y="30"/>
                  </a:lnTo>
                  <a:lnTo>
                    <a:pt x="509" y="30"/>
                  </a:lnTo>
                  <a:lnTo>
                    <a:pt x="505" y="30"/>
                  </a:lnTo>
                  <a:lnTo>
                    <a:pt x="502" y="31"/>
                  </a:lnTo>
                  <a:lnTo>
                    <a:pt x="499" y="33"/>
                  </a:lnTo>
                  <a:lnTo>
                    <a:pt x="496" y="36"/>
                  </a:lnTo>
                  <a:lnTo>
                    <a:pt x="494" y="39"/>
                  </a:lnTo>
                  <a:lnTo>
                    <a:pt x="493" y="42"/>
                  </a:lnTo>
                  <a:lnTo>
                    <a:pt x="491" y="46"/>
                  </a:lnTo>
                  <a:lnTo>
                    <a:pt x="491" y="52"/>
                  </a:lnTo>
                  <a:lnTo>
                    <a:pt x="491" y="171"/>
                  </a:lnTo>
                  <a:close/>
                  <a:moveTo>
                    <a:pt x="457" y="55"/>
                  </a:moveTo>
                  <a:lnTo>
                    <a:pt x="457" y="48"/>
                  </a:lnTo>
                  <a:lnTo>
                    <a:pt x="458" y="42"/>
                  </a:lnTo>
                  <a:lnTo>
                    <a:pt x="459" y="37"/>
                  </a:lnTo>
                  <a:lnTo>
                    <a:pt x="460" y="33"/>
                  </a:lnTo>
                  <a:lnTo>
                    <a:pt x="460" y="31"/>
                  </a:lnTo>
                  <a:lnTo>
                    <a:pt x="462" y="26"/>
                  </a:lnTo>
                  <a:lnTo>
                    <a:pt x="464" y="22"/>
                  </a:lnTo>
                  <a:lnTo>
                    <a:pt x="467" y="18"/>
                  </a:lnTo>
                  <a:lnTo>
                    <a:pt x="470" y="13"/>
                  </a:lnTo>
                  <a:lnTo>
                    <a:pt x="473" y="10"/>
                  </a:lnTo>
                  <a:lnTo>
                    <a:pt x="478" y="7"/>
                  </a:lnTo>
                  <a:lnTo>
                    <a:pt x="482" y="5"/>
                  </a:lnTo>
                  <a:lnTo>
                    <a:pt x="486" y="3"/>
                  </a:lnTo>
                  <a:lnTo>
                    <a:pt x="491" y="1"/>
                  </a:lnTo>
                  <a:lnTo>
                    <a:pt x="497" y="0"/>
                  </a:lnTo>
                  <a:lnTo>
                    <a:pt x="503" y="0"/>
                  </a:lnTo>
                  <a:lnTo>
                    <a:pt x="509" y="0"/>
                  </a:lnTo>
                  <a:lnTo>
                    <a:pt x="515" y="0"/>
                  </a:lnTo>
                  <a:lnTo>
                    <a:pt x="521" y="0"/>
                  </a:lnTo>
                  <a:lnTo>
                    <a:pt x="526" y="1"/>
                  </a:lnTo>
                  <a:lnTo>
                    <a:pt x="532" y="3"/>
                  </a:lnTo>
                  <a:lnTo>
                    <a:pt x="536" y="5"/>
                  </a:lnTo>
                  <a:lnTo>
                    <a:pt x="540" y="7"/>
                  </a:lnTo>
                  <a:lnTo>
                    <a:pt x="544" y="10"/>
                  </a:lnTo>
                  <a:lnTo>
                    <a:pt x="548" y="13"/>
                  </a:lnTo>
                  <a:lnTo>
                    <a:pt x="551" y="18"/>
                  </a:lnTo>
                  <a:lnTo>
                    <a:pt x="554" y="22"/>
                  </a:lnTo>
                  <a:lnTo>
                    <a:pt x="556" y="26"/>
                  </a:lnTo>
                  <a:lnTo>
                    <a:pt x="558" y="31"/>
                  </a:lnTo>
                  <a:lnTo>
                    <a:pt x="559" y="37"/>
                  </a:lnTo>
                  <a:lnTo>
                    <a:pt x="560" y="42"/>
                  </a:lnTo>
                  <a:lnTo>
                    <a:pt x="561" y="48"/>
                  </a:lnTo>
                  <a:lnTo>
                    <a:pt x="561" y="55"/>
                  </a:lnTo>
                  <a:lnTo>
                    <a:pt x="561" y="168"/>
                  </a:lnTo>
                  <a:lnTo>
                    <a:pt x="561" y="175"/>
                  </a:lnTo>
                  <a:lnTo>
                    <a:pt x="560" y="180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8" y="192"/>
                  </a:lnTo>
                  <a:lnTo>
                    <a:pt x="556" y="196"/>
                  </a:lnTo>
                  <a:lnTo>
                    <a:pt x="554" y="202"/>
                  </a:lnTo>
                  <a:lnTo>
                    <a:pt x="551" y="205"/>
                  </a:lnTo>
                  <a:lnTo>
                    <a:pt x="548" y="209"/>
                  </a:lnTo>
                  <a:lnTo>
                    <a:pt x="544" y="212"/>
                  </a:lnTo>
                  <a:lnTo>
                    <a:pt x="540" y="215"/>
                  </a:lnTo>
                  <a:lnTo>
                    <a:pt x="536" y="217"/>
                  </a:lnTo>
                  <a:lnTo>
                    <a:pt x="532" y="220"/>
                  </a:lnTo>
                  <a:lnTo>
                    <a:pt x="526" y="222"/>
                  </a:lnTo>
                  <a:lnTo>
                    <a:pt x="521" y="223"/>
                  </a:lnTo>
                  <a:lnTo>
                    <a:pt x="515" y="223"/>
                  </a:lnTo>
                  <a:lnTo>
                    <a:pt x="509" y="224"/>
                  </a:lnTo>
                  <a:lnTo>
                    <a:pt x="503" y="223"/>
                  </a:lnTo>
                  <a:lnTo>
                    <a:pt x="497" y="223"/>
                  </a:lnTo>
                  <a:lnTo>
                    <a:pt x="491" y="222"/>
                  </a:lnTo>
                  <a:lnTo>
                    <a:pt x="486" y="220"/>
                  </a:lnTo>
                  <a:lnTo>
                    <a:pt x="482" y="217"/>
                  </a:lnTo>
                  <a:lnTo>
                    <a:pt x="478" y="215"/>
                  </a:lnTo>
                  <a:lnTo>
                    <a:pt x="473" y="212"/>
                  </a:lnTo>
                  <a:lnTo>
                    <a:pt x="470" y="209"/>
                  </a:lnTo>
                  <a:lnTo>
                    <a:pt x="467" y="205"/>
                  </a:lnTo>
                  <a:lnTo>
                    <a:pt x="464" y="202"/>
                  </a:lnTo>
                  <a:lnTo>
                    <a:pt x="462" y="196"/>
                  </a:lnTo>
                  <a:lnTo>
                    <a:pt x="460" y="192"/>
                  </a:lnTo>
                  <a:lnTo>
                    <a:pt x="459" y="187"/>
                  </a:lnTo>
                  <a:lnTo>
                    <a:pt x="458" y="180"/>
                  </a:lnTo>
                  <a:lnTo>
                    <a:pt x="457" y="175"/>
                  </a:lnTo>
                  <a:lnTo>
                    <a:pt x="457" y="168"/>
                  </a:lnTo>
                  <a:lnTo>
                    <a:pt x="457" y="55"/>
                  </a:lnTo>
                  <a:close/>
                  <a:moveTo>
                    <a:pt x="370" y="134"/>
                  </a:moveTo>
                  <a:lnTo>
                    <a:pt x="359" y="154"/>
                  </a:lnTo>
                  <a:lnTo>
                    <a:pt x="359" y="221"/>
                  </a:lnTo>
                  <a:lnTo>
                    <a:pt x="324" y="221"/>
                  </a:lnTo>
                  <a:lnTo>
                    <a:pt x="324" y="2"/>
                  </a:lnTo>
                  <a:lnTo>
                    <a:pt x="359" y="2"/>
                  </a:lnTo>
                  <a:lnTo>
                    <a:pt x="359" y="97"/>
                  </a:lnTo>
                  <a:lnTo>
                    <a:pt x="404" y="2"/>
                  </a:lnTo>
                  <a:lnTo>
                    <a:pt x="439" y="2"/>
                  </a:lnTo>
                  <a:lnTo>
                    <a:pt x="390" y="99"/>
                  </a:lnTo>
                  <a:lnTo>
                    <a:pt x="439" y="221"/>
                  </a:lnTo>
                  <a:lnTo>
                    <a:pt x="403" y="221"/>
                  </a:lnTo>
                  <a:lnTo>
                    <a:pt x="370" y="134"/>
                  </a:lnTo>
                  <a:close/>
                  <a:moveTo>
                    <a:pt x="257" y="2"/>
                  </a:moveTo>
                  <a:lnTo>
                    <a:pt x="292" y="2"/>
                  </a:lnTo>
                  <a:lnTo>
                    <a:pt x="292" y="221"/>
                  </a:lnTo>
                  <a:lnTo>
                    <a:pt x="257" y="221"/>
                  </a:lnTo>
                  <a:lnTo>
                    <a:pt x="257" y="2"/>
                  </a:lnTo>
                  <a:close/>
                  <a:moveTo>
                    <a:pt x="157" y="33"/>
                  </a:moveTo>
                  <a:lnTo>
                    <a:pt x="15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9" y="99"/>
                  </a:lnTo>
                  <a:lnTo>
                    <a:pt x="184" y="98"/>
                  </a:lnTo>
                  <a:lnTo>
                    <a:pt x="185" y="97"/>
                  </a:lnTo>
                  <a:lnTo>
                    <a:pt x="186" y="95"/>
                  </a:lnTo>
                  <a:lnTo>
                    <a:pt x="189" y="93"/>
                  </a:lnTo>
                  <a:lnTo>
                    <a:pt x="190" y="88"/>
                  </a:lnTo>
                  <a:lnTo>
                    <a:pt x="191" y="83"/>
                  </a:lnTo>
                  <a:lnTo>
                    <a:pt x="192" y="77"/>
                  </a:lnTo>
                  <a:lnTo>
                    <a:pt x="192" y="56"/>
                  </a:lnTo>
                  <a:lnTo>
                    <a:pt x="191" y="50"/>
                  </a:lnTo>
                  <a:lnTo>
                    <a:pt x="191" y="45"/>
                  </a:lnTo>
                  <a:lnTo>
                    <a:pt x="189" y="42"/>
                  </a:lnTo>
                  <a:lnTo>
                    <a:pt x="188" y="39"/>
                  </a:lnTo>
                  <a:lnTo>
                    <a:pt x="185" y="36"/>
                  </a:lnTo>
                  <a:lnTo>
                    <a:pt x="184" y="34"/>
                  </a:lnTo>
                  <a:lnTo>
                    <a:pt x="183" y="34"/>
                  </a:lnTo>
                  <a:lnTo>
                    <a:pt x="178" y="33"/>
                  </a:lnTo>
                  <a:lnTo>
                    <a:pt x="174" y="33"/>
                  </a:lnTo>
                  <a:lnTo>
                    <a:pt x="157" y="33"/>
                  </a:lnTo>
                  <a:close/>
                  <a:moveTo>
                    <a:pt x="195" y="221"/>
                  </a:moveTo>
                  <a:lnTo>
                    <a:pt x="193" y="212"/>
                  </a:lnTo>
                  <a:lnTo>
                    <a:pt x="192" y="205"/>
                  </a:lnTo>
                  <a:lnTo>
                    <a:pt x="192" y="194"/>
                  </a:lnTo>
                  <a:lnTo>
                    <a:pt x="192" y="159"/>
                  </a:lnTo>
                  <a:lnTo>
                    <a:pt x="192" y="153"/>
                  </a:lnTo>
                  <a:lnTo>
                    <a:pt x="191" y="147"/>
                  </a:lnTo>
                  <a:lnTo>
                    <a:pt x="189" y="141"/>
                  </a:lnTo>
                  <a:lnTo>
                    <a:pt x="187" y="138"/>
                  </a:lnTo>
                  <a:lnTo>
                    <a:pt x="185" y="136"/>
                  </a:lnTo>
                  <a:lnTo>
                    <a:pt x="184" y="135"/>
                  </a:lnTo>
                  <a:lnTo>
                    <a:pt x="179" y="133"/>
                  </a:lnTo>
                  <a:lnTo>
                    <a:pt x="175" y="132"/>
                  </a:lnTo>
                  <a:lnTo>
                    <a:pt x="170" y="132"/>
                  </a:lnTo>
                  <a:lnTo>
                    <a:pt x="157" y="132"/>
                  </a:lnTo>
                  <a:lnTo>
                    <a:pt x="157" y="221"/>
                  </a:lnTo>
                  <a:lnTo>
                    <a:pt x="123" y="221"/>
                  </a:lnTo>
                  <a:lnTo>
                    <a:pt x="123" y="2"/>
                  </a:lnTo>
                  <a:lnTo>
                    <a:pt x="175" y="2"/>
                  </a:lnTo>
                  <a:lnTo>
                    <a:pt x="182" y="2"/>
                  </a:lnTo>
                  <a:lnTo>
                    <a:pt x="188" y="3"/>
                  </a:lnTo>
                  <a:lnTo>
                    <a:pt x="193" y="4"/>
                  </a:lnTo>
                  <a:lnTo>
                    <a:pt x="199" y="5"/>
                  </a:lnTo>
                  <a:lnTo>
                    <a:pt x="203" y="7"/>
                  </a:lnTo>
                  <a:lnTo>
                    <a:pt x="207" y="9"/>
                  </a:lnTo>
                  <a:lnTo>
                    <a:pt x="211" y="11"/>
                  </a:lnTo>
                  <a:lnTo>
                    <a:pt x="214" y="14"/>
                  </a:lnTo>
                  <a:lnTo>
                    <a:pt x="218" y="18"/>
                  </a:lnTo>
                  <a:lnTo>
                    <a:pt x="220" y="21"/>
                  </a:lnTo>
                  <a:lnTo>
                    <a:pt x="222" y="25"/>
                  </a:lnTo>
                  <a:lnTo>
                    <a:pt x="223" y="30"/>
                  </a:lnTo>
                  <a:lnTo>
                    <a:pt x="225" y="34"/>
                  </a:lnTo>
                  <a:lnTo>
                    <a:pt x="226" y="40"/>
                  </a:lnTo>
                  <a:lnTo>
                    <a:pt x="226" y="46"/>
                  </a:lnTo>
                  <a:lnTo>
                    <a:pt x="226" y="52"/>
                  </a:lnTo>
                  <a:lnTo>
                    <a:pt x="226" y="69"/>
                  </a:lnTo>
                  <a:lnTo>
                    <a:pt x="226" y="78"/>
                  </a:lnTo>
                  <a:lnTo>
                    <a:pt x="225" y="85"/>
                  </a:lnTo>
                  <a:lnTo>
                    <a:pt x="223" y="92"/>
                  </a:lnTo>
                  <a:lnTo>
                    <a:pt x="221" y="97"/>
                  </a:lnTo>
                  <a:lnTo>
                    <a:pt x="220" y="100"/>
                  </a:lnTo>
                  <a:lnTo>
                    <a:pt x="218" y="102"/>
                  </a:lnTo>
                  <a:lnTo>
                    <a:pt x="215" y="104"/>
                  </a:lnTo>
                  <a:lnTo>
                    <a:pt x="213" y="107"/>
                  </a:lnTo>
                  <a:lnTo>
                    <a:pt x="209" y="111"/>
                  </a:lnTo>
                  <a:lnTo>
                    <a:pt x="204" y="114"/>
                  </a:lnTo>
                  <a:lnTo>
                    <a:pt x="207" y="115"/>
                  </a:lnTo>
                  <a:lnTo>
                    <a:pt x="210" y="117"/>
                  </a:lnTo>
                  <a:lnTo>
                    <a:pt x="212" y="119"/>
                  </a:lnTo>
                  <a:lnTo>
                    <a:pt x="214" y="121"/>
                  </a:lnTo>
                  <a:lnTo>
                    <a:pt x="219" y="125"/>
                  </a:lnTo>
                  <a:lnTo>
                    <a:pt x="222" y="131"/>
                  </a:lnTo>
                  <a:lnTo>
                    <a:pt x="224" y="137"/>
                  </a:lnTo>
                  <a:lnTo>
                    <a:pt x="225" y="144"/>
                  </a:lnTo>
                  <a:lnTo>
                    <a:pt x="226" y="149"/>
                  </a:lnTo>
                  <a:lnTo>
                    <a:pt x="226" y="152"/>
                  </a:lnTo>
                  <a:lnTo>
                    <a:pt x="227" y="160"/>
                  </a:lnTo>
                  <a:lnTo>
                    <a:pt x="227" y="194"/>
                  </a:lnTo>
                  <a:lnTo>
                    <a:pt x="227" y="202"/>
                  </a:lnTo>
                  <a:lnTo>
                    <a:pt x="227" y="209"/>
                  </a:lnTo>
                  <a:lnTo>
                    <a:pt x="228" y="215"/>
                  </a:lnTo>
                  <a:lnTo>
                    <a:pt x="229" y="217"/>
                  </a:lnTo>
                  <a:lnTo>
                    <a:pt x="230" y="221"/>
                  </a:lnTo>
                  <a:lnTo>
                    <a:pt x="195" y="221"/>
                  </a:lnTo>
                  <a:close/>
                  <a:moveTo>
                    <a:pt x="35" y="94"/>
                  </a:moveTo>
                  <a:lnTo>
                    <a:pt x="82" y="94"/>
                  </a:lnTo>
                  <a:lnTo>
                    <a:pt x="82" y="125"/>
                  </a:lnTo>
                  <a:lnTo>
                    <a:pt x="35" y="125"/>
                  </a:lnTo>
                  <a:lnTo>
                    <a:pt x="35" y="190"/>
                  </a:lnTo>
                  <a:lnTo>
                    <a:pt x="94" y="190"/>
                  </a:lnTo>
                  <a:lnTo>
                    <a:pt x="94" y="221"/>
                  </a:lnTo>
                  <a:lnTo>
                    <a:pt x="0" y="221"/>
                  </a:lnTo>
                  <a:lnTo>
                    <a:pt x="0" y="2"/>
                  </a:lnTo>
                  <a:lnTo>
                    <a:pt x="94" y="2"/>
                  </a:lnTo>
                  <a:lnTo>
                    <a:pt x="94" y="33"/>
                  </a:lnTo>
                  <a:lnTo>
                    <a:pt x="35" y="33"/>
                  </a:lnTo>
                  <a:lnTo>
                    <a:pt x="35" y="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42650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  <p:sldLayoutId id="2147483754" r:id="rId18"/>
    <p:sldLayoutId id="2147483755" r:id="rId19"/>
    <p:sldLayoutId id="2147483955" r:id="rId20"/>
    <p:sldLayoutId id="2147483756" r:id="rId21"/>
    <p:sldLayoutId id="2147483757" r:id="rId22"/>
    <p:sldLayoutId id="2147483758" r:id="rId23"/>
    <p:sldLayoutId id="2147483759" r:id="rId24"/>
    <p:sldLayoutId id="2147483760" r:id="rId25"/>
    <p:sldLayoutId id="2147483761" r:id="rId26"/>
    <p:sldLayoutId id="2147483762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E7415AC7-4F0D-46D1-8F65-37ED51135284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13" name="Freeform 6"/>
            <p:cNvSpPr>
              <a:spLocks noChangeAspect="1" noEditPoints="1"/>
            </p:cNvSpPr>
            <p:nvPr userDrawn="1"/>
          </p:nvSpPr>
          <p:spPr bwMode="auto">
            <a:xfrm>
              <a:off x="8908139" y="6472998"/>
              <a:ext cx="1865548" cy="212400"/>
            </a:xfrm>
            <a:custGeom>
              <a:avLst/>
              <a:gdLst>
                <a:gd name="T0" fmla="*/ 1899 w 1985"/>
                <a:gd name="T1" fmla="*/ 2 h 226"/>
                <a:gd name="T2" fmla="*/ 67 w 1985"/>
                <a:gd name="T3" fmla="*/ 143 h 226"/>
                <a:gd name="T4" fmla="*/ 59 w 1985"/>
                <a:gd name="T5" fmla="*/ 2 h 226"/>
                <a:gd name="T6" fmla="*/ 99 w 1985"/>
                <a:gd name="T7" fmla="*/ 26 h 226"/>
                <a:gd name="T8" fmla="*/ 95 w 1985"/>
                <a:gd name="T9" fmla="*/ 104 h 226"/>
                <a:gd name="T10" fmla="*/ 99 w 1985"/>
                <a:gd name="T11" fmla="*/ 133 h 226"/>
                <a:gd name="T12" fmla="*/ 106 w 1985"/>
                <a:gd name="T13" fmla="*/ 217 h 226"/>
                <a:gd name="T14" fmla="*/ 68 w 1985"/>
                <a:gd name="T15" fmla="*/ 89 h 226"/>
                <a:gd name="T16" fmla="*/ 52 w 1985"/>
                <a:gd name="T17" fmla="*/ 34 h 226"/>
                <a:gd name="T18" fmla="*/ 168 w 1985"/>
                <a:gd name="T19" fmla="*/ 153 h 226"/>
                <a:gd name="T20" fmla="*/ 316 w 1985"/>
                <a:gd name="T21" fmla="*/ 183 h 226"/>
                <a:gd name="T22" fmla="*/ 493 w 1985"/>
                <a:gd name="T23" fmla="*/ 223 h 226"/>
                <a:gd name="T24" fmla="*/ 668 w 1985"/>
                <a:gd name="T25" fmla="*/ 11 h 226"/>
                <a:gd name="T26" fmla="*/ 652 w 1985"/>
                <a:gd name="T27" fmla="*/ 62 h 226"/>
                <a:gd name="T28" fmla="*/ 631 w 1985"/>
                <a:gd name="T29" fmla="*/ 31 h 226"/>
                <a:gd name="T30" fmla="*/ 623 w 1985"/>
                <a:gd name="T31" fmla="*/ 75 h 226"/>
                <a:gd name="T32" fmla="*/ 682 w 1985"/>
                <a:gd name="T33" fmla="*/ 149 h 226"/>
                <a:gd name="T34" fmla="*/ 675 w 1985"/>
                <a:gd name="T35" fmla="*/ 208 h 226"/>
                <a:gd name="T36" fmla="*/ 621 w 1985"/>
                <a:gd name="T37" fmla="*/ 225 h 226"/>
                <a:gd name="T38" fmla="*/ 583 w 1985"/>
                <a:gd name="T39" fmla="*/ 188 h 226"/>
                <a:gd name="T40" fmla="*/ 622 w 1985"/>
                <a:gd name="T41" fmla="*/ 191 h 226"/>
                <a:gd name="T42" fmla="*/ 650 w 1985"/>
                <a:gd name="T43" fmla="*/ 178 h 226"/>
                <a:gd name="T44" fmla="*/ 604 w 1985"/>
                <a:gd name="T45" fmla="*/ 108 h 226"/>
                <a:gd name="T46" fmla="*/ 583 w 1985"/>
                <a:gd name="T47" fmla="*/ 43 h 226"/>
                <a:gd name="T48" fmla="*/ 616 w 1985"/>
                <a:gd name="T49" fmla="*/ 2 h 226"/>
                <a:gd name="T50" fmla="*/ 713 w 1985"/>
                <a:gd name="T51" fmla="*/ 223 h 226"/>
                <a:gd name="T52" fmla="*/ 950 w 1985"/>
                <a:gd name="T53" fmla="*/ 65 h 226"/>
                <a:gd name="T54" fmla="*/ 1051 w 1985"/>
                <a:gd name="T55" fmla="*/ 223 h 226"/>
                <a:gd name="T56" fmla="*/ 1170 w 1985"/>
                <a:gd name="T57" fmla="*/ 14 h 226"/>
                <a:gd name="T58" fmla="*/ 1150 w 1985"/>
                <a:gd name="T59" fmla="*/ 53 h 226"/>
                <a:gd name="T60" fmla="*/ 1125 w 1985"/>
                <a:gd name="T61" fmla="*/ 32 h 226"/>
                <a:gd name="T62" fmla="*/ 1126 w 1985"/>
                <a:gd name="T63" fmla="*/ 82 h 226"/>
                <a:gd name="T64" fmla="*/ 1181 w 1985"/>
                <a:gd name="T65" fmla="*/ 154 h 226"/>
                <a:gd name="T66" fmla="*/ 1170 w 1985"/>
                <a:gd name="T67" fmla="*/ 211 h 226"/>
                <a:gd name="T68" fmla="*/ 1114 w 1985"/>
                <a:gd name="T69" fmla="*/ 224 h 226"/>
                <a:gd name="T70" fmla="*/ 1080 w 1985"/>
                <a:gd name="T71" fmla="*/ 183 h 226"/>
                <a:gd name="T72" fmla="*/ 1123 w 1985"/>
                <a:gd name="T73" fmla="*/ 193 h 226"/>
                <a:gd name="T74" fmla="*/ 1148 w 1985"/>
                <a:gd name="T75" fmla="*/ 172 h 226"/>
                <a:gd name="T76" fmla="*/ 1096 w 1985"/>
                <a:gd name="T77" fmla="*/ 101 h 226"/>
                <a:gd name="T78" fmla="*/ 1082 w 1985"/>
                <a:gd name="T79" fmla="*/ 37 h 226"/>
                <a:gd name="T80" fmla="*/ 1120 w 1985"/>
                <a:gd name="T81" fmla="*/ 0 h 226"/>
                <a:gd name="T82" fmla="*/ 1326 w 1985"/>
                <a:gd name="T83" fmla="*/ 2 h 226"/>
                <a:gd name="T84" fmla="*/ 1376 w 1985"/>
                <a:gd name="T85" fmla="*/ 2 h 226"/>
                <a:gd name="T86" fmla="*/ 1522 w 1985"/>
                <a:gd name="T87" fmla="*/ 186 h 226"/>
                <a:gd name="T88" fmla="*/ 1552 w 1985"/>
                <a:gd name="T89" fmla="*/ 186 h 226"/>
                <a:gd name="T90" fmla="*/ 1583 w 1985"/>
                <a:gd name="T91" fmla="*/ 199 h 226"/>
                <a:gd name="T92" fmla="*/ 1536 w 1985"/>
                <a:gd name="T93" fmla="*/ 226 h 226"/>
                <a:gd name="T94" fmla="*/ 1489 w 1985"/>
                <a:gd name="T95" fmla="*/ 199 h 226"/>
                <a:gd name="T96" fmla="*/ 1722 w 1985"/>
                <a:gd name="T97" fmla="*/ 98 h 226"/>
                <a:gd name="T98" fmla="*/ 1688 w 1985"/>
                <a:gd name="T99" fmla="*/ 138 h 226"/>
                <a:gd name="T100" fmla="*/ 1688 w 1985"/>
                <a:gd name="T101" fmla="*/ 4 h 226"/>
                <a:gd name="T102" fmla="*/ 1722 w 1985"/>
                <a:gd name="T103" fmla="*/ 50 h 226"/>
                <a:gd name="T104" fmla="*/ 1687 w 1985"/>
                <a:gd name="T105" fmla="*/ 95 h 226"/>
                <a:gd name="T106" fmla="*/ 1671 w 1985"/>
                <a:gd name="T107" fmla="*/ 34 h 226"/>
                <a:gd name="T108" fmla="*/ 1838 w 1985"/>
                <a:gd name="T109" fmla="*/ 126 h 226"/>
                <a:gd name="T110" fmla="*/ 1748 w 1985"/>
                <a:gd name="T111" fmla="*/ 223 h 226"/>
                <a:gd name="T112" fmla="*/ 1841 w 1985"/>
                <a:gd name="T113" fmla="*/ 20 h 226"/>
                <a:gd name="T114" fmla="*/ 1807 w 1985"/>
                <a:gd name="T115" fmla="*/ 108 h 226"/>
                <a:gd name="T116" fmla="*/ 1814 w 1985"/>
                <a:gd name="T117" fmla="*/ 4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85" h="226">
                  <a:moveTo>
                    <a:pt x="1906" y="153"/>
                  </a:moveTo>
                  <a:lnTo>
                    <a:pt x="1939" y="153"/>
                  </a:lnTo>
                  <a:lnTo>
                    <a:pt x="1922" y="41"/>
                  </a:lnTo>
                  <a:lnTo>
                    <a:pt x="1906" y="153"/>
                  </a:lnTo>
                  <a:close/>
                  <a:moveTo>
                    <a:pt x="1985" y="223"/>
                  </a:moveTo>
                  <a:lnTo>
                    <a:pt x="1950" y="223"/>
                  </a:lnTo>
                  <a:lnTo>
                    <a:pt x="1944" y="183"/>
                  </a:lnTo>
                  <a:lnTo>
                    <a:pt x="1901" y="183"/>
                  </a:lnTo>
                  <a:lnTo>
                    <a:pt x="1895" y="223"/>
                  </a:lnTo>
                  <a:lnTo>
                    <a:pt x="1863" y="223"/>
                  </a:lnTo>
                  <a:lnTo>
                    <a:pt x="1899" y="2"/>
                  </a:lnTo>
                  <a:lnTo>
                    <a:pt x="1950" y="2"/>
                  </a:lnTo>
                  <a:lnTo>
                    <a:pt x="1985" y="223"/>
                  </a:lnTo>
                  <a:close/>
                  <a:moveTo>
                    <a:pt x="73" y="223"/>
                  </a:moveTo>
                  <a:lnTo>
                    <a:pt x="72" y="219"/>
                  </a:lnTo>
                  <a:lnTo>
                    <a:pt x="71" y="214"/>
                  </a:lnTo>
                  <a:lnTo>
                    <a:pt x="70" y="207"/>
                  </a:lnTo>
                  <a:lnTo>
                    <a:pt x="70" y="196"/>
                  </a:lnTo>
                  <a:lnTo>
                    <a:pt x="70" y="161"/>
                  </a:lnTo>
                  <a:lnTo>
                    <a:pt x="69" y="154"/>
                  </a:lnTo>
                  <a:lnTo>
                    <a:pt x="68" y="148"/>
                  </a:lnTo>
                  <a:lnTo>
                    <a:pt x="67" y="143"/>
                  </a:lnTo>
                  <a:lnTo>
                    <a:pt x="64" y="140"/>
                  </a:lnTo>
                  <a:lnTo>
                    <a:pt x="61" y="137"/>
                  </a:lnTo>
                  <a:lnTo>
                    <a:pt x="57" y="135"/>
                  </a:lnTo>
                  <a:lnTo>
                    <a:pt x="52" y="134"/>
                  </a:lnTo>
                  <a:lnTo>
                    <a:pt x="47" y="133"/>
                  </a:lnTo>
                  <a:lnTo>
                    <a:pt x="35" y="133"/>
                  </a:lnTo>
                  <a:lnTo>
                    <a:pt x="35" y="223"/>
                  </a:lnTo>
                  <a:lnTo>
                    <a:pt x="0" y="223"/>
                  </a:lnTo>
                  <a:lnTo>
                    <a:pt x="0" y="2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65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6" y="5"/>
                  </a:lnTo>
                  <a:lnTo>
                    <a:pt x="80" y="7"/>
                  </a:lnTo>
                  <a:lnTo>
                    <a:pt x="85" y="9"/>
                  </a:lnTo>
                  <a:lnTo>
                    <a:pt x="88" y="12"/>
                  </a:lnTo>
                  <a:lnTo>
                    <a:pt x="92" y="15"/>
                  </a:lnTo>
                  <a:lnTo>
                    <a:pt x="95" y="18"/>
                  </a:lnTo>
                  <a:lnTo>
                    <a:pt x="97" y="22"/>
                  </a:lnTo>
                  <a:lnTo>
                    <a:pt x="99" y="26"/>
                  </a:lnTo>
                  <a:lnTo>
                    <a:pt x="101" y="31"/>
                  </a:lnTo>
                  <a:lnTo>
                    <a:pt x="102" y="36"/>
                  </a:lnTo>
                  <a:lnTo>
                    <a:pt x="103" y="41"/>
                  </a:lnTo>
                  <a:lnTo>
                    <a:pt x="104" y="47"/>
                  </a:lnTo>
                  <a:lnTo>
                    <a:pt x="104" y="53"/>
                  </a:lnTo>
                  <a:lnTo>
                    <a:pt x="104" y="70"/>
                  </a:lnTo>
                  <a:lnTo>
                    <a:pt x="104" y="78"/>
                  </a:lnTo>
                  <a:lnTo>
                    <a:pt x="103" y="86"/>
                  </a:lnTo>
                  <a:lnTo>
                    <a:pt x="101" y="93"/>
                  </a:lnTo>
                  <a:lnTo>
                    <a:pt x="99" y="99"/>
                  </a:lnTo>
                  <a:lnTo>
                    <a:pt x="95" y="104"/>
                  </a:lnTo>
                  <a:lnTo>
                    <a:pt x="93" y="106"/>
                  </a:lnTo>
                  <a:lnTo>
                    <a:pt x="91" y="108"/>
                  </a:lnTo>
                  <a:lnTo>
                    <a:pt x="89" y="110"/>
                  </a:lnTo>
                  <a:lnTo>
                    <a:pt x="87" y="112"/>
                  </a:lnTo>
                  <a:lnTo>
                    <a:pt x="84" y="114"/>
                  </a:lnTo>
                  <a:lnTo>
                    <a:pt x="81" y="115"/>
                  </a:lnTo>
                  <a:lnTo>
                    <a:pt x="87" y="118"/>
                  </a:lnTo>
                  <a:lnTo>
                    <a:pt x="92" y="122"/>
                  </a:lnTo>
                  <a:lnTo>
                    <a:pt x="96" y="127"/>
                  </a:lnTo>
                  <a:lnTo>
                    <a:pt x="98" y="130"/>
                  </a:lnTo>
                  <a:lnTo>
                    <a:pt x="99" y="133"/>
                  </a:lnTo>
                  <a:lnTo>
                    <a:pt x="101" y="136"/>
                  </a:lnTo>
                  <a:lnTo>
                    <a:pt x="102" y="139"/>
                  </a:lnTo>
                  <a:lnTo>
                    <a:pt x="103" y="143"/>
                  </a:lnTo>
                  <a:lnTo>
                    <a:pt x="103" y="146"/>
                  </a:lnTo>
                  <a:lnTo>
                    <a:pt x="104" y="154"/>
                  </a:lnTo>
                  <a:lnTo>
                    <a:pt x="104" y="162"/>
                  </a:lnTo>
                  <a:lnTo>
                    <a:pt x="104" y="196"/>
                  </a:lnTo>
                  <a:lnTo>
                    <a:pt x="105" y="204"/>
                  </a:lnTo>
                  <a:lnTo>
                    <a:pt x="105" y="211"/>
                  </a:lnTo>
                  <a:lnTo>
                    <a:pt x="105" y="214"/>
                  </a:lnTo>
                  <a:lnTo>
                    <a:pt x="106" y="217"/>
                  </a:lnTo>
                  <a:lnTo>
                    <a:pt x="108" y="223"/>
                  </a:lnTo>
                  <a:lnTo>
                    <a:pt x="73" y="223"/>
                  </a:lnTo>
                  <a:close/>
                  <a:moveTo>
                    <a:pt x="35" y="34"/>
                  </a:moveTo>
                  <a:lnTo>
                    <a:pt x="35" y="102"/>
                  </a:lnTo>
                  <a:lnTo>
                    <a:pt x="48" y="102"/>
                  </a:lnTo>
                  <a:lnTo>
                    <a:pt x="53" y="101"/>
                  </a:lnTo>
                  <a:lnTo>
                    <a:pt x="57" y="100"/>
                  </a:lnTo>
                  <a:lnTo>
                    <a:pt x="61" y="99"/>
                  </a:lnTo>
                  <a:lnTo>
                    <a:pt x="64" y="97"/>
                  </a:lnTo>
                  <a:lnTo>
                    <a:pt x="66" y="93"/>
                  </a:lnTo>
                  <a:lnTo>
                    <a:pt x="68" y="89"/>
                  </a:lnTo>
                  <a:lnTo>
                    <a:pt x="69" y="84"/>
                  </a:lnTo>
                  <a:lnTo>
                    <a:pt x="69" y="78"/>
                  </a:lnTo>
                  <a:lnTo>
                    <a:pt x="69" y="56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7" y="42"/>
                  </a:lnTo>
                  <a:lnTo>
                    <a:pt x="65" y="39"/>
                  </a:lnTo>
                  <a:lnTo>
                    <a:pt x="63" y="37"/>
                  </a:lnTo>
                  <a:lnTo>
                    <a:pt x="60" y="35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35" y="34"/>
                  </a:lnTo>
                  <a:close/>
                  <a:moveTo>
                    <a:pt x="248" y="223"/>
                  </a:moveTo>
                  <a:lnTo>
                    <a:pt x="212" y="223"/>
                  </a:lnTo>
                  <a:lnTo>
                    <a:pt x="206" y="183"/>
                  </a:lnTo>
                  <a:lnTo>
                    <a:pt x="164" y="183"/>
                  </a:lnTo>
                  <a:lnTo>
                    <a:pt x="158" y="223"/>
                  </a:lnTo>
                  <a:lnTo>
                    <a:pt x="126" y="223"/>
                  </a:lnTo>
                  <a:lnTo>
                    <a:pt x="161" y="2"/>
                  </a:lnTo>
                  <a:lnTo>
                    <a:pt x="212" y="2"/>
                  </a:lnTo>
                  <a:lnTo>
                    <a:pt x="248" y="223"/>
                  </a:lnTo>
                  <a:close/>
                  <a:moveTo>
                    <a:pt x="168" y="153"/>
                  </a:moveTo>
                  <a:lnTo>
                    <a:pt x="202" y="153"/>
                  </a:lnTo>
                  <a:lnTo>
                    <a:pt x="185" y="41"/>
                  </a:lnTo>
                  <a:lnTo>
                    <a:pt x="168" y="153"/>
                  </a:lnTo>
                  <a:close/>
                  <a:moveTo>
                    <a:pt x="316" y="183"/>
                  </a:moveTo>
                  <a:lnTo>
                    <a:pt x="343" y="2"/>
                  </a:lnTo>
                  <a:lnTo>
                    <a:pt x="375" y="2"/>
                  </a:lnTo>
                  <a:lnTo>
                    <a:pt x="340" y="223"/>
                  </a:lnTo>
                  <a:lnTo>
                    <a:pt x="289" y="223"/>
                  </a:lnTo>
                  <a:lnTo>
                    <a:pt x="254" y="2"/>
                  </a:lnTo>
                  <a:lnTo>
                    <a:pt x="290" y="2"/>
                  </a:lnTo>
                  <a:lnTo>
                    <a:pt x="316" y="183"/>
                  </a:lnTo>
                  <a:close/>
                  <a:moveTo>
                    <a:pt x="398" y="2"/>
                  </a:moveTo>
                  <a:lnTo>
                    <a:pt x="433" y="2"/>
                  </a:lnTo>
                  <a:lnTo>
                    <a:pt x="433" y="223"/>
                  </a:lnTo>
                  <a:lnTo>
                    <a:pt x="398" y="223"/>
                  </a:lnTo>
                  <a:lnTo>
                    <a:pt x="398" y="2"/>
                  </a:lnTo>
                  <a:close/>
                  <a:moveTo>
                    <a:pt x="456" y="2"/>
                  </a:moveTo>
                  <a:lnTo>
                    <a:pt x="564" y="2"/>
                  </a:lnTo>
                  <a:lnTo>
                    <a:pt x="564" y="34"/>
                  </a:lnTo>
                  <a:lnTo>
                    <a:pt x="527" y="34"/>
                  </a:lnTo>
                  <a:lnTo>
                    <a:pt x="527" y="223"/>
                  </a:lnTo>
                  <a:lnTo>
                    <a:pt x="493" y="223"/>
                  </a:lnTo>
                  <a:lnTo>
                    <a:pt x="493" y="34"/>
                  </a:lnTo>
                  <a:lnTo>
                    <a:pt x="456" y="34"/>
                  </a:lnTo>
                  <a:lnTo>
                    <a:pt x="456" y="2"/>
                  </a:lnTo>
                  <a:close/>
                  <a:moveTo>
                    <a:pt x="634" y="0"/>
                  </a:moveTo>
                  <a:lnTo>
                    <a:pt x="640" y="0"/>
                  </a:lnTo>
                  <a:lnTo>
                    <a:pt x="645" y="0"/>
                  </a:lnTo>
                  <a:lnTo>
                    <a:pt x="651" y="2"/>
                  </a:lnTo>
                  <a:lnTo>
                    <a:pt x="656" y="3"/>
                  </a:lnTo>
                  <a:lnTo>
                    <a:pt x="660" y="5"/>
                  </a:lnTo>
                  <a:lnTo>
                    <a:pt x="665" y="8"/>
                  </a:lnTo>
                  <a:lnTo>
                    <a:pt x="668" y="11"/>
                  </a:lnTo>
                  <a:lnTo>
                    <a:pt x="672" y="14"/>
                  </a:lnTo>
                  <a:lnTo>
                    <a:pt x="675" y="18"/>
                  </a:lnTo>
                  <a:lnTo>
                    <a:pt x="677" y="22"/>
                  </a:lnTo>
                  <a:lnTo>
                    <a:pt x="680" y="27"/>
                  </a:lnTo>
                  <a:lnTo>
                    <a:pt x="681" y="32"/>
                  </a:lnTo>
                  <a:lnTo>
                    <a:pt x="683" y="37"/>
                  </a:lnTo>
                  <a:lnTo>
                    <a:pt x="684" y="43"/>
                  </a:lnTo>
                  <a:lnTo>
                    <a:pt x="685" y="49"/>
                  </a:lnTo>
                  <a:lnTo>
                    <a:pt x="685" y="55"/>
                  </a:lnTo>
                  <a:lnTo>
                    <a:pt x="685" y="62"/>
                  </a:lnTo>
                  <a:lnTo>
                    <a:pt x="652" y="62"/>
                  </a:lnTo>
                  <a:lnTo>
                    <a:pt x="652" y="53"/>
                  </a:lnTo>
                  <a:lnTo>
                    <a:pt x="652" y="47"/>
                  </a:lnTo>
                  <a:lnTo>
                    <a:pt x="651" y="43"/>
                  </a:lnTo>
                  <a:lnTo>
                    <a:pt x="650" y="41"/>
                  </a:lnTo>
                  <a:lnTo>
                    <a:pt x="649" y="39"/>
                  </a:lnTo>
                  <a:lnTo>
                    <a:pt x="647" y="36"/>
                  </a:lnTo>
                  <a:lnTo>
                    <a:pt x="645" y="34"/>
                  </a:lnTo>
                  <a:lnTo>
                    <a:pt x="642" y="32"/>
                  </a:lnTo>
                  <a:lnTo>
                    <a:pt x="638" y="31"/>
                  </a:lnTo>
                  <a:lnTo>
                    <a:pt x="634" y="31"/>
                  </a:lnTo>
                  <a:lnTo>
                    <a:pt x="631" y="31"/>
                  </a:lnTo>
                  <a:lnTo>
                    <a:pt x="627" y="32"/>
                  </a:lnTo>
                  <a:lnTo>
                    <a:pt x="624" y="34"/>
                  </a:lnTo>
                  <a:lnTo>
                    <a:pt x="622" y="36"/>
                  </a:lnTo>
                  <a:lnTo>
                    <a:pt x="620" y="39"/>
                  </a:lnTo>
                  <a:lnTo>
                    <a:pt x="618" y="43"/>
                  </a:lnTo>
                  <a:lnTo>
                    <a:pt x="617" y="47"/>
                  </a:lnTo>
                  <a:lnTo>
                    <a:pt x="617" y="53"/>
                  </a:lnTo>
                  <a:lnTo>
                    <a:pt x="617" y="57"/>
                  </a:lnTo>
                  <a:lnTo>
                    <a:pt x="618" y="61"/>
                  </a:lnTo>
                  <a:lnTo>
                    <a:pt x="620" y="68"/>
                  </a:lnTo>
                  <a:lnTo>
                    <a:pt x="623" y="75"/>
                  </a:lnTo>
                  <a:lnTo>
                    <a:pt x="628" y="82"/>
                  </a:lnTo>
                  <a:lnTo>
                    <a:pt x="633" y="88"/>
                  </a:lnTo>
                  <a:lnTo>
                    <a:pt x="639" y="93"/>
                  </a:lnTo>
                  <a:lnTo>
                    <a:pt x="651" y="105"/>
                  </a:lnTo>
                  <a:lnTo>
                    <a:pt x="657" y="111"/>
                  </a:lnTo>
                  <a:lnTo>
                    <a:pt x="664" y="117"/>
                  </a:lnTo>
                  <a:lnTo>
                    <a:pt x="669" y="124"/>
                  </a:lnTo>
                  <a:lnTo>
                    <a:pt x="674" y="132"/>
                  </a:lnTo>
                  <a:lnTo>
                    <a:pt x="679" y="140"/>
                  </a:lnTo>
                  <a:lnTo>
                    <a:pt x="681" y="144"/>
                  </a:lnTo>
                  <a:lnTo>
                    <a:pt x="682" y="149"/>
                  </a:lnTo>
                  <a:lnTo>
                    <a:pt x="683" y="154"/>
                  </a:lnTo>
                  <a:lnTo>
                    <a:pt x="684" y="159"/>
                  </a:lnTo>
                  <a:lnTo>
                    <a:pt x="685" y="164"/>
                  </a:lnTo>
                  <a:lnTo>
                    <a:pt x="685" y="170"/>
                  </a:lnTo>
                  <a:lnTo>
                    <a:pt x="685" y="177"/>
                  </a:lnTo>
                  <a:lnTo>
                    <a:pt x="684" y="183"/>
                  </a:lnTo>
                  <a:lnTo>
                    <a:pt x="683" y="188"/>
                  </a:lnTo>
                  <a:lnTo>
                    <a:pt x="682" y="194"/>
                  </a:lnTo>
                  <a:lnTo>
                    <a:pt x="680" y="199"/>
                  </a:lnTo>
                  <a:lnTo>
                    <a:pt x="678" y="203"/>
                  </a:lnTo>
                  <a:lnTo>
                    <a:pt x="675" y="208"/>
                  </a:lnTo>
                  <a:lnTo>
                    <a:pt x="672" y="211"/>
                  </a:lnTo>
                  <a:lnTo>
                    <a:pt x="668" y="215"/>
                  </a:lnTo>
                  <a:lnTo>
                    <a:pt x="665" y="218"/>
                  </a:lnTo>
                  <a:lnTo>
                    <a:pt x="660" y="220"/>
                  </a:lnTo>
                  <a:lnTo>
                    <a:pt x="656" y="222"/>
                  </a:lnTo>
                  <a:lnTo>
                    <a:pt x="651" y="224"/>
                  </a:lnTo>
                  <a:lnTo>
                    <a:pt x="645" y="225"/>
                  </a:lnTo>
                  <a:lnTo>
                    <a:pt x="639" y="226"/>
                  </a:lnTo>
                  <a:lnTo>
                    <a:pt x="633" y="226"/>
                  </a:lnTo>
                  <a:lnTo>
                    <a:pt x="627" y="226"/>
                  </a:lnTo>
                  <a:lnTo>
                    <a:pt x="621" y="225"/>
                  </a:lnTo>
                  <a:lnTo>
                    <a:pt x="616" y="224"/>
                  </a:lnTo>
                  <a:lnTo>
                    <a:pt x="611" y="222"/>
                  </a:lnTo>
                  <a:lnTo>
                    <a:pt x="606" y="220"/>
                  </a:lnTo>
                  <a:lnTo>
                    <a:pt x="602" y="218"/>
                  </a:lnTo>
                  <a:lnTo>
                    <a:pt x="598" y="215"/>
                  </a:lnTo>
                  <a:lnTo>
                    <a:pt x="594" y="211"/>
                  </a:lnTo>
                  <a:lnTo>
                    <a:pt x="591" y="208"/>
                  </a:lnTo>
                  <a:lnTo>
                    <a:pt x="589" y="203"/>
                  </a:lnTo>
                  <a:lnTo>
                    <a:pt x="587" y="199"/>
                  </a:lnTo>
                  <a:lnTo>
                    <a:pt x="585" y="194"/>
                  </a:lnTo>
                  <a:lnTo>
                    <a:pt x="583" y="188"/>
                  </a:lnTo>
                  <a:lnTo>
                    <a:pt x="582" y="183"/>
                  </a:lnTo>
                  <a:lnTo>
                    <a:pt x="582" y="177"/>
                  </a:lnTo>
                  <a:lnTo>
                    <a:pt x="581" y="170"/>
                  </a:lnTo>
                  <a:lnTo>
                    <a:pt x="581" y="157"/>
                  </a:lnTo>
                  <a:lnTo>
                    <a:pt x="614" y="157"/>
                  </a:lnTo>
                  <a:lnTo>
                    <a:pt x="614" y="172"/>
                  </a:lnTo>
                  <a:lnTo>
                    <a:pt x="615" y="178"/>
                  </a:lnTo>
                  <a:lnTo>
                    <a:pt x="616" y="182"/>
                  </a:lnTo>
                  <a:lnTo>
                    <a:pt x="617" y="186"/>
                  </a:lnTo>
                  <a:lnTo>
                    <a:pt x="619" y="189"/>
                  </a:lnTo>
                  <a:lnTo>
                    <a:pt x="622" y="191"/>
                  </a:lnTo>
                  <a:lnTo>
                    <a:pt x="625" y="193"/>
                  </a:lnTo>
                  <a:lnTo>
                    <a:pt x="628" y="194"/>
                  </a:lnTo>
                  <a:lnTo>
                    <a:pt x="632" y="194"/>
                  </a:lnTo>
                  <a:lnTo>
                    <a:pt x="636" y="194"/>
                  </a:lnTo>
                  <a:lnTo>
                    <a:pt x="640" y="193"/>
                  </a:lnTo>
                  <a:lnTo>
                    <a:pt x="643" y="191"/>
                  </a:lnTo>
                  <a:lnTo>
                    <a:pt x="644" y="190"/>
                  </a:lnTo>
                  <a:lnTo>
                    <a:pt x="645" y="189"/>
                  </a:lnTo>
                  <a:lnTo>
                    <a:pt x="647" y="186"/>
                  </a:lnTo>
                  <a:lnTo>
                    <a:pt x="649" y="182"/>
                  </a:lnTo>
                  <a:lnTo>
                    <a:pt x="650" y="178"/>
                  </a:lnTo>
                  <a:lnTo>
                    <a:pt x="650" y="172"/>
                  </a:lnTo>
                  <a:lnTo>
                    <a:pt x="650" y="168"/>
                  </a:lnTo>
                  <a:lnTo>
                    <a:pt x="649" y="164"/>
                  </a:lnTo>
                  <a:lnTo>
                    <a:pt x="647" y="157"/>
                  </a:lnTo>
                  <a:lnTo>
                    <a:pt x="644" y="150"/>
                  </a:lnTo>
                  <a:lnTo>
                    <a:pt x="640" y="144"/>
                  </a:lnTo>
                  <a:lnTo>
                    <a:pt x="635" y="138"/>
                  </a:lnTo>
                  <a:lnTo>
                    <a:pt x="629" y="132"/>
                  </a:lnTo>
                  <a:lnTo>
                    <a:pt x="616" y="120"/>
                  </a:lnTo>
                  <a:lnTo>
                    <a:pt x="610" y="114"/>
                  </a:lnTo>
                  <a:lnTo>
                    <a:pt x="604" y="108"/>
                  </a:lnTo>
                  <a:lnTo>
                    <a:pt x="598" y="101"/>
                  </a:lnTo>
                  <a:lnTo>
                    <a:pt x="593" y="94"/>
                  </a:lnTo>
                  <a:lnTo>
                    <a:pt x="589" y="86"/>
                  </a:lnTo>
                  <a:lnTo>
                    <a:pt x="587" y="81"/>
                  </a:lnTo>
                  <a:lnTo>
                    <a:pt x="585" y="76"/>
                  </a:lnTo>
                  <a:lnTo>
                    <a:pt x="584" y="72"/>
                  </a:lnTo>
                  <a:lnTo>
                    <a:pt x="583" y="66"/>
                  </a:lnTo>
                  <a:lnTo>
                    <a:pt x="583" y="61"/>
                  </a:lnTo>
                  <a:lnTo>
                    <a:pt x="582" y="55"/>
                  </a:lnTo>
                  <a:lnTo>
                    <a:pt x="583" y="49"/>
                  </a:lnTo>
                  <a:lnTo>
                    <a:pt x="583" y="43"/>
                  </a:lnTo>
                  <a:lnTo>
                    <a:pt x="584" y="37"/>
                  </a:lnTo>
                  <a:lnTo>
                    <a:pt x="586" y="32"/>
                  </a:lnTo>
                  <a:lnTo>
                    <a:pt x="587" y="27"/>
                  </a:lnTo>
                  <a:lnTo>
                    <a:pt x="590" y="22"/>
                  </a:lnTo>
                  <a:lnTo>
                    <a:pt x="592" y="18"/>
                  </a:lnTo>
                  <a:lnTo>
                    <a:pt x="595" y="14"/>
                  </a:lnTo>
                  <a:lnTo>
                    <a:pt x="599" y="11"/>
                  </a:lnTo>
                  <a:lnTo>
                    <a:pt x="602" y="8"/>
                  </a:lnTo>
                  <a:lnTo>
                    <a:pt x="607" y="5"/>
                  </a:lnTo>
                  <a:lnTo>
                    <a:pt x="611" y="3"/>
                  </a:lnTo>
                  <a:lnTo>
                    <a:pt x="616" y="2"/>
                  </a:lnTo>
                  <a:lnTo>
                    <a:pt x="622" y="0"/>
                  </a:lnTo>
                  <a:lnTo>
                    <a:pt x="627" y="0"/>
                  </a:lnTo>
                  <a:lnTo>
                    <a:pt x="634" y="0"/>
                  </a:lnTo>
                  <a:close/>
                  <a:moveTo>
                    <a:pt x="748" y="95"/>
                  </a:moveTo>
                  <a:lnTo>
                    <a:pt x="795" y="95"/>
                  </a:lnTo>
                  <a:lnTo>
                    <a:pt x="795" y="127"/>
                  </a:lnTo>
                  <a:lnTo>
                    <a:pt x="748" y="127"/>
                  </a:lnTo>
                  <a:lnTo>
                    <a:pt x="748" y="192"/>
                  </a:lnTo>
                  <a:lnTo>
                    <a:pt x="808" y="192"/>
                  </a:lnTo>
                  <a:lnTo>
                    <a:pt x="808" y="223"/>
                  </a:lnTo>
                  <a:lnTo>
                    <a:pt x="713" y="223"/>
                  </a:lnTo>
                  <a:lnTo>
                    <a:pt x="713" y="2"/>
                  </a:lnTo>
                  <a:lnTo>
                    <a:pt x="808" y="2"/>
                  </a:lnTo>
                  <a:lnTo>
                    <a:pt x="808" y="34"/>
                  </a:lnTo>
                  <a:lnTo>
                    <a:pt x="748" y="34"/>
                  </a:lnTo>
                  <a:lnTo>
                    <a:pt x="748" y="95"/>
                  </a:lnTo>
                  <a:close/>
                  <a:moveTo>
                    <a:pt x="911" y="159"/>
                  </a:moveTo>
                  <a:lnTo>
                    <a:pt x="934" y="2"/>
                  </a:lnTo>
                  <a:lnTo>
                    <a:pt x="983" y="2"/>
                  </a:lnTo>
                  <a:lnTo>
                    <a:pt x="983" y="223"/>
                  </a:lnTo>
                  <a:lnTo>
                    <a:pt x="950" y="223"/>
                  </a:lnTo>
                  <a:lnTo>
                    <a:pt x="950" y="65"/>
                  </a:lnTo>
                  <a:lnTo>
                    <a:pt x="926" y="223"/>
                  </a:lnTo>
                  <a:lnTo>
                    <a:pt x="893" y="223"/>
                  </a:lnTo>
                  <a:lnTo>
                    <a:pt x="867" y="67"/>
                  </a:lnTo>
                  <a:lnTo>
                    <a:pt x="867" y="223"/>
                  </a:lnTo>
                  <a:lnTo>
                    <a:pt x="837" y="223"/>
                  </a:lnTo>
                  <a:lnTo>
                    <a:pt x="837" y="2"/>
                  </a:lnTo>
                  <a:lnTo>
                    <a:pt x="885" y="2"/>
                  </a:lnTo>
                  <a:lnTo>
                    <a:pt x="911" y="159"/>
                  </a:lnTo>
                  <a:close/>
                  <a:moveTo>
                    <a:pt x="1017" y="2"/>
                  </a:moveTo>
                  <a:lnTo>
                    <a:pt x="1051" y="2"/>
                  </a:lnTo>
                  <a:lnTo>
                    <a:pt x="1051" y="223"/>
                  </a:lnTo>
                  <a:lnTo>
                    <a:pt x="1017" y="223"/>
                  </a:lnTo>
                  <a:lnTo>
                    <a:pt x="1017" y="2"/>
                  </a:lnTo>
                  <a:close/>
                  <a:moveTo>
                    <a:pt x="1131" y="0"/>
                  </a:moveTo>
                  <a:lnTo>
                    <a:pt x="1138" y="0"/>
                  </a:lnTo>
                  <a:lnTo>
                    <a:pt x="1143" y="0"/>
                  </a:lnTo>
                  <a:lnTo>
                    <a:pt x="1149" y="2"/>
                  </a:lnTo>
                  <a:lnTo>
                    <a:pt x="1154" y="3"/>
                  </a:lnTo>
                  <a:lnTo>
                    <a:pt x="1158" y="5"/>
                  </a:lnTo>
                  <a:lnTo>
                    <a:pt x="1162" y="8"/>
                  </a:lnTo>
                  <a:lnTo>
                    <a:pt x="1166" y="11"/>
                  </a:lnTo>
                  <a:lnTo>
                    <a:pt x="1170" y="14"/>
                  </a:lnTo>
                  <a:lnTo>
                    <a:pt x="1173" y="18"/>
                  </a:lnTo>
                  <a:lnTo>
                    <a:pt x="1175" y="22"/>
                  </a:lnTo>
                  <a:lnTo>
                    <a:pt x="1178" y="27"/>
                  </a:lnTo>
                  <a:lnTo>
                    <a:pt x="1179" y="32"/>
                  </a:lnTo>
                  <a:lnTo>
                    <a:pt x="1181" y="37"/>
                  </a:lnTo>
                  <a:lnTo>
                    <a:pt x="1182" y="43"/>
                  </a:lnTo>
                  <a:lnTo>
                    <a:pt x="1182" y="49"/>
                  </a:lnTo>
                  <a:lnTo>
                    <a:pt x="1183" y="55"/>
                  </a:lnTo>
                  <a:lnTo>
                    <a:pt x="1183" y="62"/>
                  </a:lnTo>
                  <a:lnTo>
                    <a:pt x="1150" y="62"/>
                  </a:lnTo>
                  <a:lnTo>
                    <a:pt x="1150" y="53"/>
                  </a:lnTo>
                  <a:lnTo>
                    <a:pt x="1149" y="47"/>
                  </a:lnTo>
                  <a:lnTo>
                    <a:pt x="1149" y="43"/>
                  </a:lnTo>
                  <a:lnTo>
                    <a:pt x="1148" y="41"/>
                  </a:lnTo>
                  <a:lnTo>
                    <a:pt x="1147" y="39"/>
                  </a:lnTo>
                  <a:lnTo>
                    <a:pt x="1145" y="36"/>
                  </a:lnTo>
                  <a:lnTo>
                    <a:pt x="1143" y="34"/>
                  </a:lnTo>
                  <a:lnTo>
                    <a:pt x="1140" y="32"/>
                  </a:lnTo>
                  <a:lnTo>
                    <a:pt x="1136" y="31"/>
                  </a:lnTo>
                  <a:lnTo>
                    <a:pt x="1132" y="31"/>
                  </a:lnTo>
                  <a:lnTo>
                    <a:pt x="1128" y="31"/>
                  </a:lnTo>
                  <a:lnTo>
                    <a:pt x="1125" y="32"/>
                  </a:lnTo>
                  <a:lnTo>
                    <a:pt x="1122" y="34"/>
                  </a:lnTo>
                  <a:lnTo>
                    <a:pt x="1120" y="36"/>
                  </a:lnTo>
                  <a:lnTo>
                    <a:pt x="1118" y="39"/>
                  </a:lnTo>
                  <a:lnTo>
                    <a:pt x="1116" y="43"/>
                  </a:lnTo>
                  <a:lnTo>
                    <a:pt x="1115" y="47"/>
                  </a:lnTo>
                  <a:lnTo>
                    <a:pt x="1115" y="53"/>
                  </a:lnTo>
                  <a:lnTo>
                    <a:pt x="1115" y="57"/>
                  </a:lnTo>
                  <a:lnTo>
                    <a:pt x="1116" y="61"/>
                  </a:lnTo>
                  <a:lnTo>
                    <a:pt x="1118" y="68"/>
                  </a:lnTo>
                  <a:lnTo>
                    <a:pt x="1121" y="75"/>
                  </a:lnTo>
                  <a:lnTo>
                    <a:pt x="1126" y="82"/>
                  </a:lnTo>
                  <a:lnTo>
                    <a:pt x="1131" y="88"/>
                  </a:lnTo>
                  <a:lnTo>
                    <a:pt x="1136" y="93"/>
                  </a:lnTo>
                  <a:lnTo>
                    <a:pt x="1149" y="105"/>
                  </a:lnTo>
                  <a:lnTo>
                    <a:pt x="1155" y="111"/>
                  </a:lnTo>
                  <a:lnTo>
                    <a:pt x="1161" y="117"/>
                  </a:lnTo>
                  <a:lnTo>
                    <a:pt x="1167" y="124"/>
                  </a:lnTo>
                  <a:lnTo>
                    <a:pt x="1172" y="132"/>
                  </a:lnTo>
                  <a:lnTo>
                    <a:pt x="1177" y="140"/>
                  </a:lnTo>
                  <a:lnTo>
                    <a:pt x="1178" y="144"/>
                  </a:lnTo>
                  <a:lnTo>
                    <a:pt x="1180" y="149"/>
                  </a:lnTo>
                  <a:lnTo>
                    <a:pt x="1181" y="154"/>
                  </a:lnTo>
                  <a:lnTo>
                    <a:pt x="1182" y="159"/>
                  </a:lnTo>
                  <a:lnTo>
                    <a:pt x="1183" y="164"/>
                  </a:lnTo>
                  <a:lnTo>
                    <a:pt x="1183" y="170"/>
                  </a:lnTo>
                  <a:lnTo>
                    <a:pt x="1183" y="177"/>
                  </a:lnTo>
                  <a:lnTo>
                    <a:pt x="1182" y="183"/>
                  </a:lnTo>
                  <a:lnTo>
                    <a:pt x="1181" y="188"/>
                  </a:lnTo>
                  <a:lnTo>
                    <a:pt x="1180" y="194"/>
                  </a:lnTo>
                  <a:lnTo>
                    <a:pt x="1178" y="199"/>
                  </a:lnTo>
                  <a:lnTo>
                    <a:pt x="1176" y="203"/>
                  </a:lnTo>
                  <a:lnTo>
                    <a:pt x="1173" y="208"/>
                  </a:lnTo>
                  <a:lnTo>
                    <a:pt x="1170" y="211"/>
                  </a:lnTo>
                  <a:lnTo>
                    <a:pt x="1166" y="215"/>
                  </a:lnTo>
                  <a:lnTo>
                    <a:pt x="1162" y="218"/>
                  </a:lnTo>
                  <a:lnTo>
                    <a:pt x="1158" y="220"/>
                  </a:lnTo>
                  <a:lnTo>
                    <a:pt x="1154" y="222"/>
                  </a:lnTo>
                  <a:lnTo>
                    <a:pt x="1149" y="224"/>
                  </a:lnTo>
                  <a:lnTo>
                    <a:pt x="1143" y="225"/>
                  </a:lnTo>
                  <a:lnTo>
                    <a:pt x="1137" y="226"/>
                  </a:lnTo>
                  <a:lnTo>
                    <a:pt x="1131" y="226"/>
                  </a:lnTo>
                  <a:lnTo>
                    <a:pt x="1125" y="226"/>
                  </a:lnTo>
                  <a:lnTo>
                    <a:pt x="1119" y="225"/>
                  </a:lnTo>
                  <a:lnTo>
                    <a:pt x="1114" y="224"/>
                  </a:lnTo>
                  <a:lnTo>
                    <a:pt x="1109" y="222"/>
                  </a:lnTo>
                  <a:lnTo>
                    <a:pt x="1104" y="220"/>
                  </a:lnTo>
                  <a:lnTo>
                    <a:pt x="1100" y="218"/>
                  </a:lnTo>
                  <a:lnTo>
                    <a:pt x="1096" y="215"/>
                  </a:lnTo>
                  <a:lnTo>
                    <a:pt x="1092" y="211"/>
                  </a:lnTo>
                  <a:lnTo>
                    <a:pt x="1089" y="208"/>
                  </a:lnTo>
                  <a:lnTo>
                    <a:pt x="1087" y="203"/>
                  </a:lnTo>
                  <a:lnTo>
                    <a:pt x="1084" y="199"/>
                  </a:lnTo>
                  <a:lnTo>
                    <a:pt x="1083" y="194"/>
                  </a:lnTo>
                  <a:lnTo>
                    <a:pt x="1081" y="188"/>
                  </a:lnTo>
                  <a:lnTo>
                    <a:pt x="1080" y="183"/>
                  </a:lnTo>
                  <a:lnTo>
                    <a:pt x="1079" y="177"/>
                  </a:lnTo>
                  <a:lnTo>
                    <a:pt x="1079" y="170"/>
                  </a:lnTo>
                  <a:lnTo>
                    <a:pt x="1079" y="157"/>
                  </a:lnTo>
                  <a:lnTo>
                    <a:pt x="1112" y="157"/>
                  </a:lnTo>
                  <a:lnTo>
                    <a:pt x="1112" y="172"/>
                  </a:lnTo>
                  <a:lnTo>
                    <a:pt x="1112" y="178"/>
                  </a:lnTo>
                  <a:lnTo>
                    <a:pt x="1113" y="182"/>
                  </a:lnTo>
                  <a:lnTo>
                    <a:pt x="1115" y="186"/>
                  </a:lnTo>
                  <a:lnTo>
                    <a:pt x="1117" y="189"/>
                  </a:lnTo>
                  <a:lnTo>
                    <a:pt x="1120" y="191"/>
                  </a:lnTo>
                  <a:lnTo>
                    <a:pt x="1123" y="193"/>
                  </a:lnTo>
                  <a:lnTo>
                    <a:pt x="1126" y="194"/>
                  </a:lnTo>
                  <a:lnTo>
                    <a:pt x="1130" y="194"/>
                  </a:lnTo>
                  <a:lnTo>
                    <a:pt x="1134" y="194"/>
                  </a:lnTo>
                  <a:lnTo>
                    <a:pt x="1138" y="193"/>
                  </a:lnTo>
                  <a:lnTo>
                    <a:pt x="1141" y="191"/>
                  </a:lnTo>
                  <a:lnTo>
                    <a:pt x="1142" y="190"/>
                  </a:lnTo>
                  <a:lnTo>
                    <a:pt x="1143" y="189"/>
                  </a:lnTo>
                  <a:lnTo>
                    <a:pt x="1145" y="186"/>
                  </a:lnTo>
                  <a:lnTo>
                    <a:pt x="1147" y="182"/>
                  </a:lnTo>
                  <a:lnTo>
                    <a:pt x="1148" y="178"/>
                  </a:lnTo>
                  <a:lnTo>
                    <a:pt x="1148" y="172"/>
                  </a:lnTo>
                  <a:lnTo>
                    <a:pt x="1148" y="168"/>
                  </a:lnTo>
                  <a:lnTo>
                    <a:pt x="1147" y="164"/>
                  </a:lnTo>
                  <a:lnTo>
                    <a:pt x="1145" y="157"/>
                  </a:lnTo>
                  <a:lnTo>
                    <a:pt x="1142" y="150"/>
                  </a:lnTo>
                  <a:lnTo>
                    <a:pt x="1138" y="144"/>
                  </a:lnTo>
                  <a:lnTo>
                    <a:pt x="1132" y="138"/>
                  </a:lnTo>
                  <a:lnTo>
                    <a:pt x="1127" y="132"/>
                  </a:lnTo>
                  <a:lnTo>
                    <a:pt x="1114" y="120"/>
                  </a:lnTo>
                  <a:lnTo>
                    <a:pt x="1108" y="114"/>
                  </a:lnTo>
                  <a:lnTo>
                    <a:pt x="1102" y="108"/>
                  </a:lnTo>
                  <a:lnTo>
                    <a:pt x="1096" y="101"/>
                  </a:lnTo>
                  <a:lnTo>
                    <a:pt x="1091" y="94"/>
                  </a:lnTo>
                  <a:lnTo>
                    <a:pt x="1086" y="86"/>
                  </a:lnTo>
                  <a:lnTo>
                    <a:pt x="1085" y="81"/>
                  </a:lnTo>
                  <a:lnTo>
                    <a:pt x="1083" y="76"/>
                  </a:lnTo>
                  <a:lnTo>
                    <a:pt x="1082" y="72"/>
                  </a:lnTo>
                  <a:lnTo>
                    <a:pt x="1081" y="66"/>
                  </a:lnTo>
                  <a:lnTo>
                    <a:pt x="1080" y="61"/>
                  </a:lnTo>
                  <a:lnTo>
                    <a:pt x="1080" y="55"/>
                  </a:lnTo>
                  <a:lnTo>
                    <a:pt x="1080" y="49"/>
                  </a:lnTo>
                  <a:lnTo>
                    <a:pt x="1081" y="43"/>
                  </a:lnTo>
                  <a:lnTo>
                    <a:pt x="1082" y="37"/>
                  </a:lnTo>
                  <a:lnTo>
                    <a:pt x="1083" y="32"/>
                  </a:lnTo>
                  <a:lnTo>
                    <a:pt x="1085" y="27"/>
                  </a:lnTo>
                  <a:lnTo>
                    <a:pt x="1088" y="22"/>
                  </a:lnTo>
                  <a:lnTo>
                    <a:pt x="1090" y="18"/>
                  </a:lnTo>
                  <a:lnTo>
                    <a:pt x="1093" y="14"/>
                  </a:lnTo>
                  <a:lnTo>
                    <a:pt x="1097" y="11"/>
                  </a:lnTo>
                  <a:lnTo>
                    <a:pt x="1100" y="8"/>
                  </a:lnTo>
                  <a:lnTo>
                    <a:pt x="1105" y="5"/>
                  </a:lnTo>
                  <a:lnTo>
                    <a:pt x="1109" y="3"/>
                  </a:lnTo>
                  <a:lnTo>
                    <a:pt x="1114" y="2"/>
                  </a:lnTo>
                  <a:lnTo>
                    <a:pt x="1120" y="0"/>
                  </a:lnTo>
                  <a:lnTo>
                    <a:pt x="1125" y="0"/>
                  </a:lnTo>
                  <a:lnTo>
                    <a:pt x="1131" y="0"/>
                  </a:lnTo>
                  <a:close/>
                  <a:moveTo>
                    <a:pt x="1256" y="135"/>
                  </a:moveTo>
                  <a:lnTo>
                    <a:pt x="1245" y="155"/>
                  </a:lnTo>
                  <a:lnTo>
                    <a:pt x="1245" y="223"/>
                  </a:lnTo>
                  <a:lnTo>
                    <a:pt x="1211" y="223"/>
                  </a:lnTo>
                  <a:lnTo>
                    <a:pt x="1211" y="2"/>
                  </a:lnTo>
                  <a:lnTo>
                    <a:pt x="1245" y="2"/>
                  </a:lnTo>
                  <a:lnTo>
                    <a:pt x="1245" y="98"/>
                  </a:lnTo>
                  <a:lnTo>
                    <a:pt x="1291" y="2"/>
                  </a:lnTo>
                  <a:lnTo>
                    <a:pt x="1326" y="2"/>
                  </a:lnTo>
                  <a:lnTo>
                    <a:pt x="1277" y="101"/>
                  </a:lnTo>
                  <a:lnTo>
                    <a:pt x="1326" y="223"/>
                  </a:lnTo>
                  <a:lnTo>
                    <a:pt x="1290" y="223"/>
                  </a:lnTo>
                  <a:lnTo>
                    <a:pt x="1256" y="135"/>
                  </a:lnTo>
                  <a:close/>
                  <a:moveTo>
                    <a:pt x="1462" y="223"/>
                  </a:moveTo>
                  <a:lnTo>
                    <a:pt x="1427" y="223"/>
                  </a:lnTo>
                  <a:lnTo>
                    <a:pt x="1421" y="183"/>
                  </a:lnTo>
                  <a:lnTo>
                    <a:pt x="1378" y="183"/>
                  </a:lnTo>
                  <a:lnTo>
                    <a:pt x="1372" y="223"/>
                  </a:lnTo>
                  <a:lnTo>
                    <a:pt x="1340" y="223"/>
                  </a:lnTo>
                  <a:lnTo>
                    <a:pt x="1376" y="2"/>
                  </a:lnTo>
                  <a:lnTo>
                    <a:pt x="1426" y="2"/>
                  </a:lnTo>
                  <a:lnTo>
                    <a:pt x="1462" y="223"/>
                  </a:lnTo>
                  <a:close/>
                  <a:moveTo>
                    <a:pt x="1383" y="153"/>
                  </a:moveTo>
                  <a:lnTo>
                    <a:pt x="1416" y="153"/>
                  </a:lnTo>
                  <a:lnTo>
                    <a:pt x="1399" y="41"/>
                  </a:lnTo>
                  <a:lnTo>
                    <a:pt x="1383" y="153"/>
                  </a:lnTo>
                  <a:close/>
                  <a:moveTo>
                    <a:pt x="1519" y="2"/>
                  </a:moveTo>
                  <a:lnTo>
                    <a:pt x="1519" y="173"/>
                  </a:lnTo>
                  <a:lnTo>
                    <a:pt x="1519" y="178"/>
                  </a:lnTo>
                  <a:lnTo>
                    <a:pt x="1520" y="183"/>
                  </a:lnTo>
                  <a:lnTo>
                    <a:pt x="1522" y="186"/>
                  </a:lnTo>
                  <a:lnTo>
                    <a:pt x="1524" y="189"/>
                  </a:lnTo>
                  <a:lnTo>
                    <a:pt x="1526" y="192"/>
                  </a:lnTo>
                  <a:lnTo>
                    <a:pt x="1530" y="193"/>
                  </a:lnTo>
                  <a:lnTo>
                    <a:pt x="1533" y="194"/>
                  </a:lnTo>
                  <a:lnTo>
                    <a:pt x="1537" y="194"/>
                  </a:lnTo>
                  <a:lnTo>
                    <a:pt x="1541" y="194"/>
                  </a:lnTo>
                  <a:lnTo>
                    <a:pt x="1545" y="193"/>
                  </a:lnTo>
                  <a:lnTo>
                    <a:pt x="1548" y="192"/>
                  </a:lnTo>
                  <a:lnTo>
                    <a:pt x="1549" y="191"/>
                  </a:lnTo>
                  <a:lnTo>
                    <a:pt x="1550" y="189"/>
                  </a:lnTo>
                  <a:lnTo>
                    <a:pt x="1552" y="186"/>
                  </a:lnTo>
                  <a:lnTo>
                    <a:pt x="1554" y="183"/>
                  </a:lnTo>
                  <a:lnTo>
                    <a:pt x="1555" y="178"/>
                  </a:lnTo>
                  <a:lnTo>
                    <a:pt x="1555" y="173"/>
                  </a:lnTo>
                  <a:lnTo>
                    <a:pt x="1555" y="2"/>
                  </a:lnTo>
                  <a:lnTo>
                    <a:pt x="1588" y="2"/>
                  </a:lnTo>
                  <a:lnTo>
                    <a:pt x="1588" y="171"/>
                  </a:lnTo>
                  <a:lnTo>
                    <a:pt x="1588" y="177"/>
                  </a:lnTo>
                  <a:lnTo>
                    <a:pt x="1587" y="183"/>
                  </a:lnTo>
                  <a:lnTo>
                    <a:pt x="1586" y="189"/>
                  </a:lnTo>
                  <a:lnTo>
                    <a:pt x="1585" y="194"/>
                  </a:lnTo>
                  <a:lnTo>
                    <a:pt x="1583" y="199"/>
                  </a:lnTo>
                  <a:lnTo>
                    <a:pt x="1581" y="204"/>
                  </a:lnTo>
                  <a:lnTo>
                    <a:pt x="1578" y="208"/>
                  </a:lnTo>
                  <a:lnTo>
                    <a:pt x="1575" y="212"/>
                  </a:lnTo>
                  <a:lnTo>
                    <a:pt x="1571" y="215"/>
                  </a:lnTo>
                  <a:lnTo>
                    <a:pt x="1567" y="218"/>
                  </a:lnTo>
                  <a:lnTo>
                    <a:pt x="1563" y="220"/>
                  </a:lnTo>
                  <a:lnTo>
                    <a:pt x="1559" y="222"/>
                  </a:lnTo>
                  <a:lnTo>
                    <a:pt x="1554" y="224"/>
                  </a:lnTo>
                  <a:lnTo>
                    <a:pt x="1548" y="225"/>
                  </a:lnTo>
                  <a:lnTo>
                    <a:pt x="1542" y="226"/>
                  </a:lnTo>
                  <a:lnTo>
                    <a:pt x="1536" y="226"/>
                  </a:lnTo>
                  <a:lnTo>
                    <a:pt x="1530" y="226"/>
                  </a:lnTo>
                  <a:lnTo>
                    <a:pt x="1524" y="225"/>
                  </a:lnTo>
                  <a:lnTo>
                    <a:pt x="1519" y="224"/>
                  </a:lnTo>
                  <a:lnTo>
                    <a:pt x="1514" y="222"/>
                  </a:lnTo>
                  <a:lnTo>
                    <a:pt x="1509" y="220"/>
                  </a:lnTo>
                  <a:lnTo>
                    <a:pt x="1505" y="218"/>
                  </a:lnTo>
                  <a:lnTo>
                    <a:pt x="1501" y="215"/>
                  </a:lnTo>
                  <a:lnTo>
                    <a:pt x="1497" y="212"/>
                  </a:lnTo>
                  <a:lnTo>
                    <a:pt x="1494" y="208"/>
                  </a:lnTo>
                  <a:lnTo>
                    <a:pt x="1492" y="204"/>
                  </a:lnTo>
                  <a:lnTo>
                    <a:pt x="1489" y="199"/>
                  </a:lnTo>
                  <a:lnTo>
                    <a:pt x="1488" y="194"/>
                  </a:lnTo>
                  <a:lnTo>
                    <a:pt x="1486" y="189"/>
                  </a:lnTo>
                  <a:lnTo>
                    <a:pt x="1485" y="183"/>
                  </a:lnTo>
                  <a:lnTo>
                    <a:pt x="1484" y="177"/>
                  </a:lnTo>
                  <a:lnTo>
                    <a:pt x="1484" y="171"/>
                  </a:lnTo>
                  <a:lnTo>
                    <a:pt x="1484" y="2"/>
                  </a:lnTo>
                  <a:lnTo>
                    <a:pt x="1519" y="2"/>
                  </a:lnTo>
                  <a:close/>
                  <a:moveTo>
                    <a:pt x="1722" y="57"/>
                  </a:moveTo>
                  <a:lnTo>
                    <a:pt x="1722" y="85"/>
                  </a:lnTo>
                  <a:lnTo>
                    <a:pt x="1722" y="92"/>
                  </a:lnTo>
                  <a:lnTo>
                    <a:pt x="1722" y="98"/>
                  </a:lnTo>
                  <a:lnTo>
                    <a:pt x="1721" y="104"/>
                  </a:lnTo>
                  <a:lnTo>
                    <a:pt x="1719" y="109"/>
                  </a:lnTo>
                  <a:lnTo>
                    <a:pt x="1717" y="114"/>
                  </a:lnTo>
                  <a:lnTo>
                    <a:pt x="1715" y="118"/>
                  </a:lnTo>
                  <a:lnTo>
                    <a:pt x="1713" y="122"/>
                  </a:lnTo>
                  <a:lnTo>
                    <a:pt x="1710" y="126"/>
                  </a:lnTo>
                  <a:lnTo>
                    <a:pt x="1706" y="129"/>
                  </a:lnTo>
                  <a:lnTo>
                    <a:pt x="1702" y="132"/>
                  </a:lnTo>
                  <a:lnTo>
                    <a:pt x="1698" y="135"/>
                  </a:lnTo>
                  <a:lnTo>
                    <a:pt x="1693" y="137"/>
                  </a:lnTo>
                  <a:lnTo>
                    <a:pt x="1688" y="138"/>
                  </a:lnTo>
                  <a:lnTo>
                    <a:pt x="1683" y="139"/>
                  </a:lnTo>
                  <a:lnTo>
                    <a:pt x="1677" y="140"/>
                  </a:lnTo>
                  <a:lnTo>
                    <a:pt x="1671" y="140"/>
                  </a:lnTo>
                  <a:lnTo>
                    <a:pt x="1654" y="140"/>
                  </a:lnTo>
                  <a:lnTo>
                    <a:pt x="1654" y="223"/>
                  </a:lnTo>
                  <a:lnTo>
                    <a:pt x="1619" y="223"/>
                  </a:lnTo>
                  <a:lnTo>
                    <a:pt x="1619" y="2"/>
                  </a:lnTo>
                  <a:lnTo>
                    <a:pt x="1671" y="2"/>
                  </a:lnTo>
                  <a:lnTo>
                    <a:pt x="1677" y="2"/>
                  </a:lnTo>
                  <a:lnTo>
                    <a:pt x="1683" y="3"/>
                  </a:lnTo>
                  <a:lnTo>
                    <a:pt x="1688" y="4"/>
                  </a:lnTo>
                  <a:lnTo>
                    <a:pt x="1693" y="6"/>
                  </a:lnTo>
                  <a:lnTo>
                    <a:pt x="1698" y="8"/>
                  </a:lnTo>
                  <a:lnTo>
                    <a:pt x="1702" y="10"/>
                  </a:lnTo>
                  <a:lnTo>
                    <a:pt x="1706" y="13"/>
                  </a:lnTo>
                  <a:lnTo>
                    <a:pt x="1710" y="16"/>
                  </a:lnTo>
                  <a:lnTo>
                    <a:pt x="1713" y="20"/>
                  </a:lnTo>
                  <a:lnTo>
                    <a:pt x="1715" y="24"/>
                  </a:lnTo>
                  <a:lnTo>
                    <a:pt x="1717" y="28"/>
                  </a:lnTo>
                  <a:lnTo>
                    <a:pt x="1719" y="33"/>
                  </a:lnTo>
                  <a:lnTo>
                    <a:pt x="1722" y="44"/>
                  </a:lnTo>
                  <a:lnTo>
                    <a:pt x="1722" y="50"/>
                  </a:lnTo>
                  <a:lnTo>
                    <a:pt x="1722" y="57"/>
                  </a:lnTo>
                  <a:close/>
                  <a:moveTo>
                    <a:pt x="1654" y="34"/>
                  </a:moveTo>
                  <a:lnTo>
                    <a:pt x="1654" y="109"/>
                  </a:lnTo>
                  <a:lnTo>
                    <a:pt x="1671" y="109"/>
                  </a:lnTo>
                  <a:lnTo>
                    <a:pt x="1675" y="108"/>
                  </a:lnTo>
                  <a:lnTo>
                    <a:pt x="1678" y="108"/>
                  </a:lnTo>
                  <a:lnTo>
                    <a:pt x="1681" y="106"/>
                  </a:lnTo>
                  <a:lnTo>
                    <a:pt x="1683" y="104"/>
                  </a:lnTo>
                  <a:lnTo>
                    <a:pt x="1685" y="101"/>
                  </a:lnTo>
                  <a:lnTo>
                    <a:pt x="1687" y="98"/>
                  </a:lnTo>
                  <a:lnTo>
                    <a:pt x="1687" y="95"/>
                  </a:lnTo>
                  <a:lnTo>
                    <a:pt x="1687" y="93"/>
                  </a:lnTo>
                  <a:lnTo>
                    <a:pt x="1688" y="88"/>
                  </a:lnTo>
                  <a:lnTo>
                    <a:pt x="1688" y="55"/>
                  </a:lnTo>
                  <a:lnTo>
                    <a:pt x="1687" y="49"/>
                  </a:lnTo>
                  <a:lnTo>
                    <a:pt x="1687" y="45"/>
                  </a:lnTo>
                  <a:lnTo>
                    <a:pt x="1685" y="41"/>
                  </a:lnTo>
                  <a:lnTo>
                    <a:pt x="1683" y="38"/>
                  </a:lnTo>
                  <a:lnTo>
                    <a:pt x="1681" y="36"/>
                  </a:lnTo>
                  <a:lnTo>
                    <a:pt x="1678" y="35"/>
                  </a:lnTo>
                  <a:lnTo>
                    <a:pt x="1675" y="34"/>
                  </a:lnTo>
                  <a:lnTo>
                    <a:pt x="1671" y="34"/>
                  </a:lnTo>
                  <a:lnTo>
                    <a:pt x="1654" y="34"/>
                  </a:lnTo>
                  <a:close/>
                  <a:moveTo>
                    <a:pt x="1851" y="57"/>
                  </a:moveTo>
                  <a:lnTo>
                    <a:pt x="1851" y="85"/>
                  </a:lnTo>
                  <a:lnTo>
                    <a:pt x="1851" y="92"/>
                  </a:lnTo>
                  <a:lnTo>
                    <a:pt x="1850" y="98"/>
                  </a:lnTo>
                  <a:lnTo>
                    <a:pt x="1849" y="104"/>
                  </a:lnTo>
                  <a:lnTo>
                    <a:pt x="1848" y="109"/>
                  </a:lnTo>
                  <a:lnTo>
                    <a:pt x="1846" y="114"/>
                  </a:lnTo>
                  <a:lnTo>
                    <a:pt x="1844" y="118"/>
                  </a:lnTo>
                  <a:lnTo>
                    <a:pt x="1841" y="122"/>
                  </a:lnTo>
                  <a:lnTo>
                    <a:pt x="1838" y="126"/>
                  </a:lnTo>
                  <a:lnTo>
                    <a:pt x="1835" y="129"/>
                  </a:lnTo>
                  <a:lnTo>
                    <a:pt x="1831" y="132"/>
                  </a:lnTo>
                  <a:lnTo>
                    <a:pt x="1827" y="135"/>
                  </a:lnTo>
                  <a:lnTo>
                    <a:pt x="1822" y="137"/>
                  </a:lnTo>
                  <a:lnTo>
                    <a:pt x="1817" y="138"/>
                  </a:lnTo>
                  <a:lnTo>
                    <a:pt x="1811" y="139"/>
                  </a:lnTo>
                  <a:lnTo>
                    <a:pt x="1806" y="140"/>
                  </a:lnTo>
                  <a:lnTo>
                    <a:pt x="1799" y="140"/>
                  </a:lnTo>
                  <a:lnTo>
                    <a:pt x="1783" y="140"/>
                  </a:lnTo>
                  <a:lnTo>
                    <a:pt x="1783" y="223"/>
                  </a:lnTo>
                  <a:lnTo>
                    <a:pt x="1748" y="223"/>
                  </a:lnTo>
                  <a:lnTo>
                    <a:pt x="1748" y="2"/>
                  </a:lnTo>
                  <a:lnTo>
                    <a:pt x="1799" y="2"/>
                  </a:lnTo>
                  <a:lnTo>
                    <a:pt x="1806" y="2"/>
                  </a:lnTo>
                  <a:lnTo>
                    <a:pt x="1811" y="3"/>
                  </a:lnTo>
                  <a:lnTo>
                    <a:pt x="1817" y="4"/>
                  </a:lnTo>
                  <a:lnTo>
                    <a:pt x="1822" y="6"/>
                  </a:lnTo>
                  <a:lnTo>
                    <a:pt x="1827" y="8"/>
                  </a:lnTo>
                  <a:lnTo>
                    <a:pt x="1831" y="10"/>
                  </a:lnTo>
                  <a:lnTo>
                    <a:pt x="1835" y="13"/>
                  </a:lnTo>
                  <a:lnTo>
                    <a:pt x="1838" y="16"/>
                  </a:lnTo>
                  <a:lnTo>
                    <a:pt x="1841" y="20"/>
                  </a:lnTo>
                  <a:lnTo>
                    <a:pt x="1844" y="24"/>
                  </a:lnTo>
                  <a:lnTo>
                    <a:pt x="1846" y="28"/>
                  </a:lnTo>
                  <a:lnTo>
                    <a:pt x="1848" y="33"/>
                  </a:lnTo>
                  <a:lnTo>
                    <a:pt x="1850" y="44"/>
                  </a:lnTo>
                  <a:lnTo>
                    <a:pt x="1851" y="50"/>
                  </a:lnTo>
                  <a:lnTo>
                    <a:pt x="1851" y="57"/>
                  </a:lnTo>
                  <a:close/>
                  <a:moveTo>
                    <a:pt x="1783" y="34"/>
                  </a:moveTo>
                  <a:lnTo>
                    <a:pt x="1783" y="109"/>
                  </a:lnTo>
                  <a:lnTo>
                    <a:pt x="1799" y="109"/>
                  </a:lnTo>
                  <a:lnTo>
                    <a:pt x="1803" y="108"/>
                  </a:lnTo>
                  <a:lnTo>
                    <a:pt x="1807" y="108"/>
                  </a:lnTo>
                  <a:lnTo>
                    <a:pt x="1810" y="106"/>
                  </a:lnTo>
                  <a:lnTo>
                    <a:pt x="1812" y="104"/>
                  </a:lnTo>
                  <a:lnTo>
                    <a:pt x="1814" y="101"/>
                  </a:lnTo>
                  <a:lnTo>
                    <a:pt x="1815" y="98"/>
                  </a:lnTo>
                  <a:lnTo>
                    <a:pt x="1816" y="95"/>
                  </a:lnTo>
                  <a:lnTo>
                    <a:pt x="1816" y="93"/>
                  </a:lnTo>
                  <a:lnTo>
                    <a:pt x="1816" y="88"/>
                  </a:lnTo>
                  <a:lnTo>
                    <a:pt x="1816" y="55"/>
                  </a:lnTo>
                  <a:lnTo>
                    <a:pt x="1816" y="49"/>
                  </a:lnTo>
                  <a:lnTo>
                    <a:pt x="1815" y="45"/>
                  </a:lnTo>
                  <a:lnTo>
                    <a:pt x="1814" y="41"/>
                  </a:lnTo>
                  <a:lnTo>
                    <a:pt x="1812" y="38"/>
                  </a:lnTo>
                  <a:lnTo>
                    <a:pt x="1810" y="36"/>
                  </a:lnTo>
                  <a:lnTo>
                    <a:pt x="1807" y="35"/>
                  </a:lnTo>
                  <a:lnTo>
                    <a:pt x="1803" y="34"/>
                  </a:lnTo>
                  <a:lnTo>
                    <a:pt x="1799" y="34"/>
                  </a:lnTo>
                  <a:lnTo>
                    <a:pt x="1783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96246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956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66F0E092-76EF-4F69-BAD4-51752B0CEBB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6" name="Freeform 32"/>
            <p:cNvSpPr>
              <a:spLocks noEditPoints="1"/>
            </p:cNvSpPr>
            <p:nvPr userDrawn="1"/>
          </p:nvSpPr>
          <p:spPr bwMode="auto">
            <a:xfrm>
              <a:off x="8841484" y="6473685"/>
              <a:ext cx="2006400" cy="211200"/>
            </a:xfrm>
            <a:custGeom>
              <a:avLst/>
              <a:gdLst>
                <a:gd name="T0" fmla="*/ 2042 w 2127"/>
                <a:gd name="T1" fmla="*/ 3 h 225"/>
                <a:gd name="T2" fmla="*/ 1959 w 2127"/>
                <a:gd name="T3" fmla="*/ 97 h 225"/>
                <a:gd name="T4" fmla="*/ 1943 w 2127"/>
                <a:gd name="T5" fmla="*/ 34 h 225"/>
                <a:gd name="T6" fmla="*/ 1982 w 2127"/>
                <a:gd name="T7" fmla="*/ 126 h 225"/>
                <a:gd name="T8" fmla="*/ 1893 w 2127"/>
                <a:gd name="T9" fmla="*/ 222 h 225"/>
                <a:gd name="T10" fmla="*/ 1985 w 2127"/>
                <a:gd name="T11" fmla="*/ 20 h 225"/>
                <a:gd name="T12" fmla="*/ 1820 w 2127"/>
                <a:gd name="T13" fmla="*/ 108 h 225"/>
                <a:gd name="T14" fmla="*/ 1830 w 2127"/>
                <a:gd name="T15" fmla="*/ 41 h 225"/>
                <a:gd name="T16" fmla="*/ 1865 w 2127"/>
                <a:gd name="T17" fmla="*/ 104 h 225"/>
                <a:gd name="T18" fmla="*/ 1828 w 2127"/>
                <a:gd name="T19" fmla="*/ 139 h 225"/>
                <a:gd name="T20" fmla="*/ 1839 w 2127"/>
                <a:gd name="T21" fmla="*/ 6 h 225"/>
                <a:gd name="T22" fmla="*/ 1867 w 2127"/>
                <a:gd name="T23" fmla="*/ 51 h 225"/>
                <a:gd name="T24" fmla="*/ 1680 w 2127"/>
                <a:gd name="T25" fmla="*/ 193 h 225"/>
                <a:gd name="T26" fmla="*/ 1734 w 2127"/>
                <a:gd name="T27" fmla="*/ 3 h 225"/>
                <a:gd name="T28" fmla="*/ 1714 w 2127"/>
                <a:gd name="T29" fmla="*/ 217 h 225"/>
                <a:gd name="T30" fmla="*/ 1660 w 2127"/>
                <a:gd name="T31" fmla="*/ 221 h 225"/>
                <a:gd name="T32" fmla="*/ 1631 w 2127"/>
                <a:gd name="T33" fmla="*/ 176 h 225"/>
                <a:gd name="T34" fmla="*/ 1526 w 2127"/>
                <a:gd name="T35" fmla="*/ 182 h 225"/>
                <a:gd name="T36" fmla="*/ 1394 w 2127"/>
                <a:gd name="T37" fmla="*/ 3 h 225"/>
                <a:gd name="T38" fmla="*/ 1271 w 2127"/>
                <a:gd name="T39" fmla="*/ 127 h 225"/>
                <a:gd name="T40" fmla="*/ 1214 w 2127"/>
                <a:gd name="T41" fmla="*/ 3 h 225"/>
                <a:gd name="T42" fmla="*/ 1056 w 2127"/>
                <a:gd name="T43" fmla="*/ 2 h 225"/>
                <a:gd name="T44" fmla="*/ 1089 w 2127"/>
                <a:gd name="T45" fmla="*/ 43 h 225"/>
                <a:gd name="T46" fmla="*/ 1048 w 2127"/>
                <a:gd name="T47" fmla="*/ 33 h 225"/>
                <a:gd name="T48" fmla="*/ 1022 w 2127"/>
                <a:gd name="T49" fmla="*/ 53 h 225"/>
                <a:gd name="T50" fmla="*/ 1074 w 2127"/>
                <a:gd name="T51" fmla="*/ 124 h 225"/>
                <a:gd name="T52" fmla="*/ 1085 w 2127"/>
                <a:gd name="T53" fmla="*/ 198 h 225"/>
                <a:gd name="T54" fmla="*/ 1044 w 2127"/>
                <a:gd name="T55" fmla="*/ 224 h 225"/>
                <a:gd name="T56" fmla="*/ 995 w 2127"/>
                <a:gd name="T57" fmla="*/ 202 h 225"/>
                <a:gd name="T58" fmla="*/ 1021 w 2127"/>
                <a:gd name="T59" fmla="*/ 182 h 225"/>
                <a:gd name="T60" fmla="*/ 1051 w 2127"/>
                <a:gd name="T61" fmla="*/ 188 h 225"/>
                <a:gd name="T62" fmla="*/ 1040 w 2127"/>
                <a:gd name="T63" fmla="*/ 138 h 225"/>
                <a:gd name="T64" fmla="*/ 988 w 2127"/>
                <a:gd name="T65" fmla="*/ 49 h 225"/>
                <a:gd name="T66" fmla="*/ 1013 w 2127"/>
                <a:gd name="T67" fmla="*/ 6 h 225"/>
                <a:gd name="T68" fmla="*/ 963 w 2127"/>
                <a:gd name="T69" fmla="*/ 190 h 225"/>
                <a:gd name="T70" fmla="*/ 727 w 2127"/>
                <a:gd name="T71" fmla="*/ 3 h 225"/>
                <a:gd name="T72" fmla="*/ 630 w 2127"/>
                <a:gd name="T73" fmla="*/ 184 h 225"/>
                <a:gd name="T74" fmla="*/ 661 w 2127"/>
                <a:gd name="T75" fmla="*/ 185 h 225"/>
                <a:gd name="T76" fmla="*/ 653 w 2127"/>
                <a:gd name="T77" fmla="*/ 33 h 225"/>
                <a:gd name="T78" fmla="*/ 628 w 2127"/>
                <a:gd name="T79" fmla="*/ 171 h 225"/>
                <a:gd name="T80" fmla="*/ 610 w 2127"/>
                <a:gd name="T81" fmla="*/ 12 h 225"/>
                <a:gd name="T82" fmla="*/ 668 w 2127"/>
                <a:gd name="T83" fmla="*/ 4 h 225"/>
                <a:gd name="T84" fmla="*/ 698 w 2127"/>
                <a:gd name="T85" fmla="*/ 49 h 225"/>
                <a:gd name="T86" fmla="*/ 684 w 2127"/>
                <a:gd name="T87" fmla="*/ 211 h 225"/>
                <a:gd name="T88" fmla="*/ 628 w 2127"/>
                <a:gd name="T89" fmla="*/ 222 h 225"/>
                <a:gd name="T90" fmla="*/ 594 w 2127"/>
                <a:gd name="T91" fmla="*/ 182 h 225"/>
                <a:gd name="T92" fmla="*/ 467 w 2127"/>
                <a:gd name="T93" fmla="*/ 34 h 225"/>
                <a:gd name="T94" fmla="*/ 259 w 2127"/>
                <a:gd name="T95" fmla="*/ 3 h 225"/>
                <a:gd name="T96" fmla="*/ 161 w 2127"/>
                <a:gd name="T97" fmla="*/ 185 h 225"/>
                <a:gd name="T98" fmla="*/ 193 w 2127"/>
                <a:gd name="T99" fmla="*/ 182 h 225"/>
                <a:gd name="T100" fmla="*/ 180 w 2127"/>
                <a:gd name="T101" fmla="*/ 32 h 225"/>
                <a:gd name="T102" fmla="*/ 124 w 2127"/>
                <a:gd name="T103" fmla="*/ 55 h 225"/>
                <a:gd name="T104" fmla="*/ 146 w 2127"/>
                <a:gd name="T105" fmla="*/ 9 h 225"/>
                <a:gd name="T106" fmla="*/ 204 w 2127"/>
                <a:gd name="T107" fmla="*/ 6 h 225"/>
                <a:gd name="T108" fmla="*/ 229 w 2127"/>
                <a:gd name="T109" fmla="*/ 55 h 225"/>
                <a:gd name="T110" fmla="*/ 212 w 2127"/>
                <a:gd name="T111" fmla="*/ 214 h 225"/>
                <a:gd name="T112" fmla="*/ 154 w 2127"/>
                <a:gd name="T113" fmla="*/ 221 h 225"/>
                <a:gd name="T114" fmla="*/ 124 w 2127"/>
                <a:gd name="T115" fmla="*/ 176 h 225"/>
                <a:gd name="T116" fmla="*/ 66 w 2127"/>
                <a:gd name="T117" fmla="*/ 97 h 225"/>
                <a:gd name="T118" fmla="*/ 50 w 2127"/>
                <a:gd name="T119" fmla="*/ 34 h 225"/>
                <a:gd name="T120" fmla="*/ 89 w 2127"/>
                <a:gd name="T121" fmla="*/ 126 h 225"/>
                <a:gd name="T122" fmla="*/ 0 w 2127"/>
                <a:gd name="T123" fmla="*/ 222 h 225"/>
                <a:gd name="T124" fmla="*/ 92 w 2127"/>
                <a:gd name="T125" fmla="*/ 2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7" h="225">
                  <a:moveTo>
                    <a:pt x="2049" y="152"/>
                  </a:moveTo>
                  <a:lnTo>
                    <a:pt x="2082" y="152"/>
                  </a:lnTo>
                  <a:lnTo>
                    <a:pt x="2066" y="41"/>
                  </a:lnTo>
                  <a:lnTo>
                    <a:pt x="2049" y="152"/>
                  </a:lnTo>
                  <a:close/>
                  <a:moveTo>
                    <a:pt x="2127" y="222"/>
                  </a:moveTo>
                  <a:lnTo>
                    <a:pt x="2092" y="222"/>
                  </a:lnTo>
                  <a:lnTo>
                    <a:pt x="2087" y="182"/>
                  </a:lnTo>
                  <a:lnTo>
                    <a:pt x="2045" y="182"/>
                  </a:lnTo>
                  <a:lnTo>
                    <a:pt x="2039" y="222"/>
                  </a:lnTo>
                  <a:lnTo>
                    <a:pt x="2007" y="222"/>
                  </a:lnTo>
                  <a:lnTo>
                    <a:pt x="2042" y="3"/>
                  </a:lnTo>
                  <a:lnTo>
                    <a:pt x="2092" y="3"/>
                  </a:lnTo>
                  <a:lnTo>
                    <a:pt x="2127" y="222"/>
                  </a:lnTo>
                  <a:close/>
                  <a:moveTo>
                    <a:pt x="1927" y="34"/>
                  </a:moveTo>
                  <a:lnTo>
                    <a:pt x="1927" y="108"/>
                  </a:lnTo>
                  <a:lnTo>
                    <a:pt x="1943" y="108"/>
                  </a:lnTo>
                  <a:lnTo>
                    <a:pt x="1948" y="108"/>
                  </a:lnTo>
                  <a:lnTo>
                    <a:pt x="1951" y="107"/>
                  </a:lnTo>
                  <a:lnTo>
                    <a:pt x="1954" y="106"/>
                  </a:lnTo>
                  <a:lnTo>
                    <a:pt x="1956" y="104"/>
                  </a:lnTo>
                  <a:lnTo>
                    <a:pt x="1958" y="102"/>
                  </a:lnTo>
                  <a:lnTo>
                    <a:pt x="1959" y="97"/>
                  </a:lnTo>
                  <a:lnTo>
                    <a:pt x="1960" y="93"/>
                  </a:lnTo>
                  <a:lnTo>
                    <a:pt x="1960" y="88"/>
                  </a:lnTo>
                  <a:lnTo>
                    <a:pt x="1960" y="55"/>
                  </a:lnTo>
                  <a:lnTo>
                    <a:pt x="1960" y="50"/>
                  </a:lnTo>
                  <a:lnTo>
                    <a:pt x="1959" y="44"/>
                  </a:lnTo>
                  <a:lnTo>
                    <a:pt x="1958" y="41"/>
                  </a:lnTo>
                  <a:lnTo>
                    <a:pt x="1956" y="38"/>
                  </a:lnTo>
                  <a:lnTo>
                    <a:pt x="1954" y="36"/>
                  </a:lnTo>
                  <a:lnTo>
                    <a:pt x="1951" y="35"/>
                  </a:lnTo>
                  <a:lnTo>
                    <a:pt x="1948" y="34"/>
                  </a:lnTo>
                  <a:lnTo>
                    <a:pt x="1943" y="34"/>
                  </a:lnTo>
                  <a:lnTo>
                    <a:pt x="1927" y="34"/>
                  </a:lnTo>
                  <a:close/>
                  <a:moveTo>
                    <a:pt x="1995" y="57"/>
                  </a:moveTo>
                  <a:lnTo>
                    <a:pt x="1995" y="86"/>
                  </a:lnTo>
                  <a:lnTo>
                    <a:pt x="1994" y="92"/>
                  </a:lnTo>
                  <a:lnTo>
                    <a:pt x="1994" y="97"/>
                  </a:lnTo>
                  <a:lnTo>
                    <a:pt x="1993" y="104"/>
                  </a:lnTo>
                  <a:lnTo>
                    <a:pt x="1992" y="109"/>
                  </a:lnTo>
                  <a:lnTo>
                    <a:pt x="1990" y="113"/>
                  </a:lnTo>
                  <a:lnTo>
                    <a:pt x="1988" y="118"/>
                  </a:lnTo>
                  <a:lnTo>
                    <a:pt x="1985" y="122"/>
                  </a:lnTo>
                  <a:lnTo>
                    <a:pt x="1982" y="126"/>
                  </a:lnTo>
                  <a:lnTo>
                    <a:pt x="1978" y="129"/>
                  </a:lnTo>
                  <a:lnTo>
                    <a:pt x="1975" y="132"/>
                  </a:lnTo>
                  <a:lnTo>
                    <a:pt x="1971" y="134"/>
                  </a:lnTo>
                  <a:lnTo>
                    <a:pt x="1966" y="136"/>
                  </a:lnTo>
                  <a:lnTo>
                    <a:pt x="1961" y="138"/>
                  </a:lnTo>
                  <a:lnTo>
                    <a:pt x="1955" y="139"/>
                  </a:lnTo>
                  <a:lnTo>
                    <a:pt x="1950" y="140"/>
                  </a:lnTo>
                  <a:lnTo>
                    <a:pt x="1943" y="140"/>
                  </a:lnTo>
                  <a:lnTo>
                    <a:pt x="1927" y="140"/>
                  </a:lnTo>
                  <a:lnTo>
                    <a:pt x="1927" y="222"/>
                  </a:lnTo>
                  <a:lnTo>
                    <a:pt x="1893" y="222"/>
                  </a:lnTo>
                  <a:lnTo>
                    <a:pt x="1893" y="3"/>
                  </a:lnTo>
                  <a:lnTo>
                    <a:pt x="1943" y="3"/>
                  </a:lnTo>
                  <a:lnTo>
                    <a:pt x="1950" y="3"/>
                  </a:lnTo>
                  <a:lnTo>
                    <a:pt x="1955" y="3"/>
                  </a:lnTo>
                  <a:lnTo>
                    <a:pt x="1961" y="4"/>
                  </a:lnTo>
                  <a:lnTo>
                    <a:pt x="1966" y="6"/>
                  </a:lnTo>
                  <a:lnTo>
                    <a:pt x="1971" y="9"/>
                  </a:lnTo>
                  <a:lnTo>
                    <a:pt x="1975" y="11"/>
                  </a:lnTo>
                  <a:lnTo>
                    <a:pt x="1978" y="14"/>
                  </a:lnTo>
                  <a:lnTo>
                    <a:pt x="1982" y="17"/>
                  </a:lnTo>
                  <a:lnTo>
                    <a:pt x="1985" y="20"/>
                  </a:lnTo>
                  <a:lnTo>
                    <a:pt x="1988" y="24"/>
                  </a:lnTo>
                  <a:lnTo>
                    <a:pt x="1990" y="29"/>
                  </a:lnTo>
                  <a:lnTo>
                    <a:pt x="1992" y="34"/>
                  </a:lnTo>
                  <a:lnTo>
                    <a:pt x="1993" y="39"/>
                  </a:lnTo>
                  <a:lnTo>
                    <a:pt x="1994" y="44"/>
                  </a:lnTo>
                  <a:lnTo>
                    <a:pt x="1994" y="51"/>
                  </a:lnTo>
                  <a:lnTo>
                    <a:pt x="1995" y="57"/>
                  </a:lnTo>
                  <a:close/>
                  <a:moveTo>
                    <a:pt x="1800" y="34"/>
                  </a:moveTo>
                  <a:lnTo>
                    <a:pt x="1800" y="108"/>
                  </a:lnTo>
                  <a:lnTo>
                    <a:pt x="1815" y="108"/>
                  </a:lnTo>
                  <a:lnTo>
                    <a:pt x="1820" y="108"/>
                  </a:lnTo>
                  <a:lnTo>
                    <a:pt x="1823" y="107"/>
                  </a:lnTo>
                  <a:lnTo>
                    <a:pt x="1826" y="106"/>
                  </a:lnTo>
                  <a:lnTo>
                    <a:pt x="1828" y="104"/>
                  </a:lnTo>
                  <a:lnTo>
                    <a:pt x="1830" y="102"/>
                  </a:lnTo>
                  <a:lnTo>
                    <a:pt x="1831" y="97"/>
                  </a:lnTo>
                  <a:lnTo>
                    <a:pt x="1832" y="93"/>
                  </a:lnTo>
                  <a:lnTo>
                    <a:pt x="1833" y="88"/>
                  </a:lnTo>
                  <a:lnTo>
                    <a:pt x="1833" y="55"/>
                  </a:lnTo>
                  <a:lnTo>
                    <a:pt x="1832" y="50"/>
                  </a:lnTo>
                  <a:lnTo>
                    <a:pt x="1831" y="44"/>
                  </a:lnTo>
                  <a:lnTo>
                    <a:pt x="1830" y="41"/>
                  </a:lnTo>
                  <a:lnTo>
                    <a:pt x="1828" y="38"/>
                  </a:lnTo>
                  <a:lnTo>
                    <a:pt x="1826" y="36"/>
                  </a:lnTo>
                  <a:lnTo>
                    <a:pt x="1823" y="35"/>
                  </a:lnTo>
                  <a:lnTo>
                    <a:pt x="1820" y="34"/>
                  </a:lnTo>
                  <a:lnTo>
                    <a:pt x="1815" y="34"/>
                  </a:lnTo>
                  <a:lnTo>
                    <a:pt x="1800" y="34"/>
                  </a:lnTo>
                  <a:close/>
                  <a:moveTo>
                    <a:pt x="1867" y="57"/>
                  </a:moveTo>
                  <a:lnTo>
                    <a:pt x="1867" y="86"/>
                  </a:lnTo>
                  <a:lnTo>
                    <a:pt x="1867" y="92"/>
                  </a:lnTo>
                  <a:lnTo>
                    <a:pt x="1866" y="97"/>
                  </a:lnTo>
                  <a:lnTo>
                    <a:pt x="1865" y="104"/>
                  </a:lnTo>
                  <a:lnTo>
                    <a:pt x="1864" y="109"/>
                  </a:lnTo>
                  <a:lnTo>
                    <a:pt x="1862" y="113"/>
                  </a:lnTo>
                  <a:lnTo>
                    <a:pt x="1860" y="118"/>
                  </a:lnTo>
                  <a:lnTo>
                    <a:pt x="1858" y="122"/>
                  </a:lnTo>
                  <a:lnTo>
                    <a:pt x="1855" y="126"/>
                  </a:lnTo>
                  <a:lnTo>
                    <a:pt x="1851" y="129"/>
                  </a:lnTo>
                  <a:lnTo>
                    <a:pt x="1847" y="132"/>
                  </a:lnTo>
                  <a:lnTo>
                    <a:pt x="1843" y="134"/>
                  </a:lnTo>
                  <a:lnTo>
                    <a:pt x="1839" y="136"/>
                  </a:lnTo>
                  <a:lnTo>
                    <a:pt x="1833" y="138"/>
                  </a:lnTo>
                  <a:lnTo>
                    <a:pt x="1828" y="139"/>
                  </a:lnTo>
                  <a:lnTo>
                    <a:pt x="1822" y="140"/>
                  </a:lnTo>
                  <a:lnTo>
                    <a:pt x="1815" y="140"/>
                  </a:lnTo>
                  <a:lnTo>
                    <a:pt x="1800" y="140"/>
                  </a:lnTo>
                  <a:lnTo>
                    <a:pt x="1800" y="222"/>
                  </a:lnTo>
                  <a:lnTo>
                    <a:pt x="1766" y="222"/>
                  </a:lnTo>
                  <a:lnTo>
                    <a:pt x="1766" y="3"/>
                  </a:lnTo>
                  <a:lnTo>
                    <a:pt x="1815" y="3"/>
                  </a:lnTo>
                  <a:lnTo>
                    <a:pt x="1822" y="3"/>
                  </a:lnTo>
                  <a:lnTo>
                    <a:pt x="1828" y="3"/>
                  </a:lnTo>
                  <a:lnTo>
                    <a:pt x="1833" y="4"/>
                  </a:lnTo>
                  <a:lnTo>
                    <a:pt x="1839" y="6"/>
                  </a:lnTo>
                  <a:lnTo>
                    <a:pt x="1843" y="9"/>
                  </a:lnTo>
                  <a:lnTo>
                    <a:pt x="1847" y="11"/>
                  </a:lnTo>
                  <a:lnTo>
                    <a:pt x="1851" y="14"/>
                  </a:lnTo>
                  <a:lnTo>
                    <a:pt x="1855" y="17"/>
                  </a:lnTo>
                  <a:lnTo>
                    <a:pt x="1858" y="20"/>
                  </a:lnTo>
                  <a:lnTo>
                    <a:pt x="1860" y="24"/>
                  </a:lnTo>
                  <a:lnTo>
                    <a:pt x="1862" y="29"/>
                  </a:lnTo>
                  <a:lnTo>
                    <a:pt x="1864" y="34"/>
                  </a:lnTo>
                  <a:lnTo>
                    <a:pt x="1865" y="39"/>
                  </a:lnTo>
                  <a:lnTo>
                    <a:pt x="1866" y="44"/>
                  </a:lnTo>
                  <a:lnTo>
                    <a:pt x="1867" y="51"/>
                  </a:lnTo>
                  <a:lnTo>
                    <a:pt x="1867" y="57"/>
                  </a:lnTo>
                  <a:close/>
                  <a:moveTo>
                    <a:pt x="1665" y="3"/>
                  </a:moveTo>
                  <a:lnTo>
                    <a:pt x="1665" y="172"/>
                  </a:lnTo>
                  <a:lnTo>
                    <a:pt x="1666" y="178"/>
                  </a:lnTo>
                  <a:lnTo>
                    <a:pt x="1667" y="182"/>
                  </a:lnTo>
                  <a:lnTo>
                    <a:pt x="1667" y="184"/>
                  </a:lnTo>
                  <a:lnTo>
                    <a:pt x="1668" y="185"/>
                  </a:lnTo>
                  <a:lnTo>
                    <a:pt x="1671" y="188"/>
                  </a:lnTo>
                  <a:lnTo>
                    <a:pt x="1673" y="190"/>
                  </a:lnTo>
                  <a:lnTo>
                    <a:pt x="1676" y="193"/>
                  </a:lnTo>
                  <a:lnTo>
                    <a:pt x="1680" y="193"/>
                  </a:lnTo>
                  <a:lnTo>
                    <a:pt x="1683" y="194"/>
                  </a:lnTo>
                  <a:lnTo>
                    <a:pt x="1687" y="193"/>
                  </a:lnTo>
                  <a:lnTo>
                    <a:pt x="1691" y="193"/>
                  </a:lnTo>
                  <a:lnTo>
                    <a:pt x="1694" y="190"/>
                  </a:lnTo>
                  <a:lnTo>
                    <a:pt x="1697" y="188"/>
                  </a:lnTo>
                  <a:lnTo>
                    <a:pt x="1698" y="185"/>
                  </a:lnTo>
                  <a:lnTo>
                    <a:pt x="1700" y="182"/>
                  </a:lnTo>
                  <a:lnTo>
                    <a:pt x="1701" y="178"/>
                  </a:lnTo>
                  <a:lnTo>
                    <a:pt x="1701" y="172"/>
                  </a:lnTo>
                  <a:lnTo>
                    <a:pt x="1701" y="3"/>
                  </a:lnTo>
                  <a:lnTo>
                    <a:pt x="1734" y="3"/>
                  </a:lnTo>
                  <a:lnTo>
                    <a:pt x="1734" y="169"/>
                  </a:lnTo>
                  <a:lnTo>
                    <a:pt x="1734" y="176"/>
                  </a:lnTo>
                  <a:lnTo>
                    <a:pt x="1733" y="182"/>
                  </a:lnTo>
                  <a:lnTo>
                    <a:pt x="1732" y="188"/>
                  </a:lnTo>
                  <a:lnTo>
                    <a:pt x="1731" y="194"/>
                  </a:lnTo>
                  <a:lnTo>
                    <a:pt x="1729" y="198"/>
                  </a:lnTo>
                  <a:lnTo>
                    <a:pt x="1727" y="203"/>
                  </a:lnTo>
                  <a:lnTo>
                    <a:pt x="1723" y="206"/>
                  </a:lnTo>
                  <a:lnTo>
                    <a:pt x="1721" y="211"/>
                  </a:lnTo>
                  <a:lnTo>
                    <a:pt x="1717" y="214"/>
                  </a:lnTo>
                  <a:lnTo>
                    <a:pt x="1714" y="217"/>
                  </a:lnTo>
                  <a:lnTo>
                    <a:pt x="1712" y="218"/>
                  </a:lnTo>
                  <a:lnTo>
                    <a:pt x="1710" y="219"/>
                  </a:lnTo>
                  <a:lnTo>
                    <a:pt x="1704" y="221"/>
                  </a:lnTo>
                  <a:lnTo>
                    <a:pt x="1700" y="223"/>
                  </a:lnTo>
                  <a:lnTo>
                    <a:pt x="1695" y="224"/>
                  </a:lnTo>
                  <a:lnTo>
                    <a:pt x="1688" y="224"/>
                  </a:lnTo>
                  <a:lnTo>
                    <a:pt x="1682" y="225"/>
                  </a:lnTo>
                  <a:lnTo>
                    <a:pt x="1677" y="224"/>
                  </a:lnTo>
                  <a:lnTo>
                    <a:pt x="1671" y="224"/>
                  </a:lnTo>
                  <a:lnTo>
                    <a:pt x="1665" y="223"/>
                  </a:lnTo>
                  <a:lnTo>
                    <a:pt x="1660" y="221"/>
                  </a:lnTo>
                  <a:lnTo>
                    <a:pt x="1656" y="219"/>
                  </a:lnTo>
                  <a:lnTo>
                    <a:pt x="1651" y="217"/>
                  </a:lnTo>
                  <a:lnTo>
                    <a:pt x="1647" y="214"/>
                  </a:lnTo>
                  <a:lnTo>
                    <a:pt x="1644" y="211"/>
                  </a:lnTo>
                  <a:lnTo>
                    <a:pt x="1641" y="206"/>
                  </a:lnTo>
                  <a:lnTo>
                    <a:pt x="1639" y="203"/>
                  </a:lnTo>
                  <a:lnTo>
                    <a:pt x="1637" y="198"/>
                  </a:lnTo>
                  <a:lnTo>
                    <a:pt x="1635" y="194"/>
                  </a:lnTo>
                  <a:lnTo>
                    <a:pt x="1632" y="188"/>
                  </a:lnTo>
                  <a:lnTo>
                    <a:pt x="1632" y="182"/>
                  </a:lnTo>
                  <a:lnTo>
                    <a:pt x="1631" y="176"/>
                  </a:lnTo>
                  <a:lnTo>
                    <a:pt x="1631" y="169"/>
                  </a:lnTo>
                  <a:lnTo>
                    <a:pt x="1631" y="3"/>
                  </a:lnTo>
                  <a:lnTo>
                    <a:pt x="1665" y="3"/>
                  </a:lnTo>
                  <a:close/>
                  <a:moveTo>
                    <a:pt x="1530" y="152"/>
                  </a:moveTo>
                  <a:lnTo>
                    <a:pt x="1564" y="152"/>
                  </a:lnTo>
                  <a:lnTo>
                    <a:pt x="1547" y="41"/>
                  </a:lnTo>
                  <a:lnTo>
                    <a:pt x="1530" y="152"/>
                  </a:lnTo>
                  <a:close/>
                  <a:moveTo>
                    <a:pt x="1609" y="222"/>
                  </a:moveTo>
                  <a:lnTo>
                    <a:pt x="1574" y="222"/>
                  </a:lnTo>
                  <a:lnTo>
                    <a:pt x="1568" y="182"/>
                  </a:lnTo>
                  <a:lnTo>
                    <a:pt x="1526" y="182"/>
                  </a:lnTo>
                  <a:lnTo>
                    <a:pt x="1520" y="222"/>
                  </a:lnTo>
                  <a:lnTo>
                    <a:pt x="1489" y="222"/>
                  </a:lnTo>
                  <a:lnTo>
                    <a:pt x="1524" y="3"/>
                  </a:lnTo>
                  <a:lnTo>
                    <a:pt x="1574" y="3"/>
                  </a:lnTo>
                  <a:lnTo>
                    <a:pt x="1609" y="222"/>
                  </a:lnTo>
                  <a:close/>
                  <a:moveTo>
                    <a:pt x="1405" y="134"/>
                  </a:moveTo>
                  <a:lnTo>
                    <a:pt x="1394" y="154"/>
                  </a:lnTo>
                  <a:lnTo>
                    <a:pt x="1394" y="222"/>
                  </a:lnTo>
                  <a:lnTo>
                    <a:pt x="1360" y="222"/>
                  </a:lnTo>
                  <a:lnTo>
                    <a:pt x="1360" y="3"/>
                  </a:lnTo>
                  <a:lnTo>
                    <a:pt x="1394" y="3"/>
                  </a:lnTo>
                  <a:lnTo>
                    <a:pt x="1394" y="98"/>
                  </a:lnTo>
                  <a:lnTo>
                    <a:pt x="1440" y="3"/>
                  </a:lnTo>
                  <a:lnTo>
                    <a:pt x="1474" y="3"/>
                  </a:lnTo>
                  <a:lnTo>
                    <a:pt x="1426" y="101"/>
                  </a:lnTo>
                  <a:lnTo>
                    <a:pt x="1474" y="222"/>
                  </a:lnTo>
                  <a:lnTo>
                    <a:pt x="1439" y="222"/>
                  </a:lnTo>
                  <a:lnTo>
                    <a:pt x="1405" y="134"/>
                  </a:lnTo>
                  <a:close/>
                  <a:moveTo>
                    <a:pt x="1271" y="95"/>
                  </a:moveTo>
                  <a:lnTo>
                    <a:pt x="1318" y="95"/>
                  </a:lnTo>
                  <a:lnTo>
                    <a:pt x="1318" y="127"/>
                  </a:lnTo>
                  <a:lnTo>
                    <a:pt x="1271" y="127"/>
                  </a:lnTo>
                  <a:lnTo>
                    <a:pt x="1271" y="190"/>
                  </a:lnTo>
                  <a:lnTo>
                    <a:pt x="1331" y="190"/>
                  </a:lnTo>
                  <a:lnTo>
                    <a:pt x="1331" y="222"/>
                  </a:lnTo>
                  <a:lnTo>
                    <a:pt x="1237" y="222"/>
                  </a:lnTo>
                  <a:lnTo>
                    <a:pt x="1237" y="3"/>
                  </a:lnTo>
                  <a:lnTo>
                    <a:pt x="1331" y="3"/>
                  </a:lnTo>
                  <a:lnTo>
                    <a:pt x="1331" y="34"/>
                  </a:lnTo>
                  <a:lnTo>
                    <a:pt x="1271" y="34"/>
                  </a:lnTo>
                  <a:lnTo>
                    <a:pt x="1271" y="95"/>
                  </a:lnTo>
                  <a:close/>
                  <a:moveTo>
                    <a:pt x="1108" y="3"/>
                  </a:moveTo>
                  <a:lnTo>
                    <a:pt x="1214" y="3"/>
                  </a:lnTo>
                  <a:lnTo>
                    <a:pt x="1214" y="34"/>
                  </a:lnTo>
                  <a:lnTo>
                    <a:pt x="1178" y="34"/>
                  </a:lnTo>
                  <a:lnTo>
                    <a:pt x="1178" y="222"/>
                  </a:lnTo>
                  <a:lnTo>
                    <a:pt x="1144" y="222"/>
                  </a:lnTo>
                  <a:lnTo>
                    <a:pt x="1144" y="34"/>
                  </a:lnTo>
                  <a:lnTo>
                    <a:pt x="1108" y="34"/>
                  </a:lnTo>
                  <a:lnTo>
                    <a:pt x="1108" y="3"/>
                  </a:lnTo>
                  <a:close/>
                  <a:moveTo>
                    <a:pt x="1039" y="0"/>
                  </a:moveTo>
                  <a:lnTo>
                    <a:pt x="1044" y="0"/>
                  </a:lnTo>
                  <a:lnTo>
                    <a:pt x="1051" y="1"/>
                  </a:lnTo>
                  <a:lnTo>
                    <a:pt x="1056" y="2"/>
                  </a:lnTo>
                  <a:lnTo>
                    <a:pt x="1061" y="4"/>
                  </a:lnTo>
                  <a:lnTo>
                    <a:pt x="1066" y="6"/>
                  </a:lnTo>
                  <a:lnTo>
                    <a:pt x="1070" y="9"/>
                  </a:lnTo>
                  <a:lnTo>
                    <a:pt x="1073" y="12"/>
                  </a:lnTo>
                  <a:lnTo>
                    <a:pt x="1077" y="15"/>
                  </a:lnTo>
                  <a:lnTo>
                    <a:pt x="1079" y="18"/>
                  </a:lnTo>
                  <a:lnTo>
                    <a:pt x="1083" y="22"/>
                  </a:lnTo>
                  <a:lnTo>
                    <a:pt x="1085" y="28"/>
                  </a:lnTo>
                  <a:lnTo>
                    <a:pt x="1087" y="32"/>
                  </a:lnTo>
                  <a:lnTo>
                    <a:pt x="1088" y="37"/>
                  </a:lnTo>
                  <a:lnTo>
                    <a:pt x="1089" y="43"/>
                  </a:lnTo>
                  <a:lnTo>
                    <a:pt x="1090" y="49"/>
                  </a:lnTo>
                  <a:lnTo>
                    <a:pt x="1090" y="55"/>
                  </a:lnTo>
                  <a:lnTo>
                    <a:pt x="1090" y="62"/>
                  </a:lnTo>
                  <a:lnTo>
                    <a:pt x="1057" y="62"/>
                  </a:lnTo>
                  <a:lnTo>
                    <a:pt x="1057" y="53"/>
                  </a:lnTo>
                  <a:lnTo>
                    <a:pt x="1057" y="48"/>
                  </a:lnTo>
                  <a:lnTo>
                    <a:pt x="1056" y="43"/>
                  </a:lnTo>
                  <a:lnTo>
                    <a:pt x="1054" y="39"/>
                  </a:lnTo>
                  <a:lnTo>
                    <a:pt x="1053" y="36"/>
                  </a:lnTo>
                  <a:lnTo>
                    <a:pt x="1050" y="34"/>
                  </a:lnTo>
                  <a:lnTo>
                    <a:pt x="1048" y="33"/>
                  </a:lnTo>
                  <a:lnTo>
                    <a:pt x="1043" y="32"/>
                  </a:lnTo>
                  <a:lnTo>
                    <a:pt x="1040" y="32"/>
                  </a:lnTo>
                  <a:lnTo>
                    <a:pt x="1036" y="32"/>
                  </a:lnTo>
                  <a:lnTo>
                    <a:pt x="1033" y="33"/>
                  </a:lnTo>
                  <a:lnTo>
                    <a:pt x="1031" y="34"/>
                  </a:lnTo>
                  <a:lnTo>
                    <a:pt x="1030" y="34"/>
                  </a:lnTo>
                  <a:lnTo>
                    <a:pt x="1028" y="36"/>
                  </a:lnTo>
                  <a:lnTo>
                    <a:pt x="1025" y="39"/>
                  </a:lnTo>
                  <a:lnTo>
                    <a:pt x="1023" y="43"/>
                  </a:lnTo>
                  <a:lnTo>
                    <a:pt x="1023" y="48"/>
                  </a:lnTo>
                  <a:lnTo>
                    <a:pt x="1022" y="53"/>
                  </a:lnTo>
                  <a:lnTo>
                    <a:pt x="1022" y="57"/>
                  </a:lnTo>
                  <a:lnTo>
                    <a:pt x="1023" y="61"/>
                  </a:lnTo>
                  <a:lnTo>
                    <a:pt x="1025" y="69"/>
                  </a:lnTo>
                  <a:lnTo>
                    <a:pt x="1026" y="72"/>
                  </a:lnTo>
                  <a:lnTo>
                    <a:pt x="1029" y="75"/>
                  </a:lnTo>
                  <a:lnTo>
                    <a:pt x="1033" y="81"/>
                  </a:lnTo>
                  <a:lnTo>
                    <a:pt x="1038" y="88"/>
                  </a:lnTo>
                  <a:lnTo>
                    <a:pt x="1043" y="93"/>
                  </a:lnTo>
                  <a:lnTo>
                    <a:pt x="1056" y="105"/>
                  </a:lnTo>
                  <a:lnTo>
                    <a:pt x="1069" y="117"/>
                  </a:lnTo>
                  <a:lnTo>
                    <a:pt x="1074" y="124"/>
                  </a:lnTo>
                  <a:lnTo>
                    <a:pt x="1079" y="131"/>
                  </a:lnTo>
                  <a:lnTo>
                    <a:pt x="1084" y="140"/>
                  </a:lnTo>
                  <a:lnTo>
                    <a:pt x="1087" y="148"/>
                  </a:lnTo>
                  <a:lnTo>
                    <a:pt x="1089" y="159"/>
                  </a:lnTo>
                  <a:lnTo>
                    <a:pt x="1090" y="164"/>
                  </a:lnTo>
                  <a:lnTo>
                    <a:pt x="1090" y="169"/>
                  </a:lnTo>
                  <a:lnTo>
                    <a:pt x="1090" y="176"/>
                  </a:lnTo>
                  <a:lnTo>
                    <a:pt x="1089" y="182"/>
                  </a:lnTo>
                  <a:lnTo>
                    <a:pt x="1088" y="187"/>
                  </a:lnTo>
                  <a:lnTo>
                    <a:pt x="1087" y="193"/>
                  </a:lnTo>
                  <a:lnTo>
                    <a:pt x="1085" y="198"/>
                  </a:lnTo>
                  <a:lnTo>
                    <a:pt x="1083" y="202"/>
                  </a:lnTo>
                  <a:lnTo>
                    <a:pt x="1080" y="206"/>
                  </a:lnTo>
                  <a:lnTo>
                    <a:pt x="1077" y="211"/>
                  </a:lnTo>
                  <a:lnTo>
                    <a:pt x="1073" y="214"/>
                  </a:lnTo>
                  <a:lnTo>
                    <a:pt x="1070" y="217"/>
                  </a:lnTo>
                  <a:lnTo>
                    <a:pt x="1068" y="218"/>
                  </a:lnTo>
                  <a:lnTo>
                    <a:pt x="1066" y="219"/>
                  </a:lnTo>
                  <a:lnTo>
                    <a:pt x="1061" y="221"/>
                  </a:lnTo>
                  <a:lnTo>
                    <a:pt x="1056" y="222"/>
                  </a:lnTo>
                  <a:lnTo>
                    <a:pt x="1051" y="223"/>
                  </a:lnTo>
                  <a:lnTo>
                    <a:pt x="1044" y="224"/>
                  </a:lnTo>
                  <a:lnTo>
                    <a:pt x="1038" y="224"/>
                  </a:lnTo>
                  <a:lnTo>
                    <a:pt x="1033" y="224"/>
                  </a:lnTo>
                  <a:lnTo>
                    <a:pt x="1026" y="223"/>
                  </a:lnTo>
                  <a:lnTo>
                    <a:pt x="1021" y="222"/>
                  </a:lnTo>
                  <a:lnTo>
                    <a:pt x="1016" y="221"/>
                  </a:lnTo>
                  <a:lnTo>
                    <a:pt x="1012" y="219"/>
                  </a:lnTo>
                  <a:lnTo>
                    <a:pt x="1007" y="217"/>
                  </a:lnTo>
                  <a:lnTo>
                    <a:pt x="1003" y="214"/>
                  </a:lnTo>
                  <a:lnTo>
                    <a:pt x="1000" y="211"/>
                  </a:lnTo>
                  <a:lnTo>
                    <a:pt x="997" y="206"/>
                  </a:lnTo>
                  <a:lnTo>
                    <a:pt x="995" y="202"/>
                  </a:lnTo>
                  <a:lnTo>
                    <a:pt x="993" y="198"/>
                  </a:lnTo>
                  <a:lnTo>
                    <a:pt x="991" y="193"/>
                  </a:lnTo>
                  <a:lnTo>
                    <a:pt x="989" y="187"/>
                  </a:lnTo>
                  <a:lnTo>
                    <a:pt x="988" y="182"/>
                  </a:lnTo>
                  <a:lnTo>
                    <a:pt x="987" y="176"/>
                  </a:lnTo>
                  <a:lnTo>
                    <a:pt x="987" y="169"/>
                  </a:lnTo>
                  <a:lnTo>
                    <a:pt x="987" y="156"/>
                  </a:lnTo>
                  <a:lnTo>
                    <a:pt x="1020" y="156"/>
                  </a:lnTo>
                  <a:lnTo>
                    <a:pt x="1020" y="171"/>
                  </a:lnTo>
                  <a:lnTo>
                    <a:pt x="1020" y="177"/>
                  </a:lnTo>
                  <a:lnTo>
                    <a:pt x="1021" y="182"/>
                  </a:lnTo>
                  <a:lnTo>
                    <a:pt x="1021" y="183"/>
                  </a:lnTo>
                  <a:lnTo>
                    <a:pt x="1022" y="185"/>
                  </a:lnTo>
                  <a:lnTo>
                    <a:pt x="1024" y="188"/>
                  </a:lnTo>
                  <a:lnTo>
                    <a:pt x="1028" y="190"/>
                  </a:lnTo>
                  <a:lnTo>
                    <a:pt x="1031" y="191"/>
                  </a:lnTo>
                  <a:lnTo>
                    <a:pt x="1034" y="193"/>
                  </a:lnTo>
                  <a:lnTo>
                    <a:pt x="1038" y="193"/>
                  </a:lnTo>
                  <a:lnTo>
                    <a:pt x="1041" y="193"/>
                  </a:lnTo>
                  <a:lnTo>
                    <a:pt x="1046" y="191"/>
                  </a:lnTo>
                  <a:lnTo>
                    <a:pt x="1048" y="190"/>
                  </a:lnTo>
                  <a:lnTo>
                    <a:pt x="1051" y="188"/>
                  </a:lnTo>
                  <a:lnTo>
                    <a:pt x="1053" y="185"/>
                  </a:lnTo>
                  <a:lnTo>
                    <a:pt x="1054" y="182"/>
                  </a:lnTo>
                  <a:lnTo>
                    <a:pt x="1055" y="177"/>
                  </a:lnTo>
                  <a:lnTo>
                    <a:pt x="1055" y="171"/>
                  </a:lnTo>
                  <a:lnTo>
                    <a:pt x="1055" y="167"/>
                  </a:lnTo>
                  <a:lnTo>
                    <a:pt x="1055" y="164"/>
                  </a:lnTo>
                  <a:lnTo>
                    <a:pt x="1053" y="157"/>
                  </a:lnTo>
                  <a:lnTo>
                    <a:pt x="1051" y="152"/>
                  </a:lnTo>
                  <a:lnTo>
                    <a:pt x="1050" y="149"/>
                  </a:lnTo>
                  <a:lnTo>
                    <a:pt x="1044" y="143"/>
                  </a:lnTo>
                  <a:lnTo>
                    <a:pt x="1040" y="138"/>
                  </a:lnTo>
                  <a:lnTo>
                    <a:pt x="1034" y="131"/>
                  </a:lnTo>
                  <a:lnTo>
                    <a:pt x="1022" y="120"/>
                  </a:lnTo>
                  <a:lnTo>
                    <a:pt x="1010" y="108"/>
                  </a:lnTo>
                  <a:lnTo>
                    <a:pt x="1003" y="101"/>
                  </a:lnTo>
                  <a:lnTo>
                    <a:pt x="999" y="93"/>
                  </a:lnTo>
                  <a:lnTo>
                    <a:pt x="995" y="86"/>
                  </a:lnTo>
                  <a:lnTo>
                    <a:pt x="991" y="76"/>
                  </a:lnTo>
                  <a:lnTo>
                    <a:pt x="988" y="67"/>
                  </a:lnTo>
                  <a:lnTo>
                    <a:pt x="988" y="61"/>
                  </a:lnTo>
                  <a:lnTo>
                    <a:pt x="988" y="55"/>
                  </a:lnTo>
                  <a:lnTo>
                    <a:pt x="988" y="49"/>
                  </a:lnTo>
                  <a:lnTo>
                    <a:pt x="988" y="43"/>
                  </a:lnTo>
                  <a:lnTo>
                    <a:pt x="989" y="37"/>
                  </a:lnTo>
                  <a:lnTo>
                    <a:pt x="992" y="32"/>
                  </a:lnTo>
                  <a:lnTo>
                    <a:pt x="993" y="28"/>
                  </a:lnTo>
                  <a:lnTo>
                    <a:pt x="996" y="22"/>
                  </a:lnTo>
                  <a:lnTo>
                    <a:pt x="998" y="18"/>
                  </a:lnTo>
                  <a:lnTo>
                    <a:pt x="1001" y="15"/>
                  </a:lnTo>
                  <a:lnTo>
                    <a:pt x="1004" y="12"/>
                  </a:lnTo>
                  <a:lnTo>
                    <a:pt x="1008" y="9"/>
                  </a:lnTo>
                  <a:lnTo>
                    <a:pt x="1011" y="7"/>
                  </a:lnTo>
                  <a:lnTo>
                    <a:pt x="1013" y="6"/>
                  </a:lnTo>
                  <a:lnTo>
                    <a:pt x="1017" y="4"/>
                  </a:lnTo>
                  <a:lnTo>
                    <a:pt x="1022" y="2"/>
                  </a:lnTo>
                  <a:lnTo>
                    <a:pt x="1028" y="1"/>
                  </a:lnTo>
                  <a:lnTo>
                    <a:pt x="1033" y="0"/>
                  </a:lnTo>
                  <a:lnTo>
                    <a:pt x="1039" y="0"/>
                  </a:lnTo>
                  <a:close/>
                  <a:moveTo>
                    <a:pt x="904" y="95"/>
                  </a:moveTo>
                  <a:lnTo>
                    <a:pt x="951" y="95"/>
                  </a:lnTo>
                  <a:lnTo>
                    <a:pt x="951" y="127"/>
                  </a:lnTo>
                  <a:lnTo>
                    <a:pt x="904" y="127"/>
                  </a:lnTo>
                  <a:lnTo>
                    <a:pt x="904" y="190"/>
                  </a:lnTo>
                  <a:lnTo>
                    <a:pt x="963" y="190"/>
                  </a:lnTo>
                  <a:lnTo>
                    <a:pt x="963" y="222"/>
                  </a:lnTo>
                  <a:lnTo>
                    <a:pt x="870" y="222"/>
                  </a:lnTo>
                  <a:lnTo>
                    <a:pt x="870" y="3"/>
                  </a:lnTo>
                  <a:lnTo>
                    <a:pt x="963" y="3"/>
                  </a:lnTo>
                  <a:lnTo>
                    <a:pt x="963" y="34"/>
                  </a:lnTo>
                  <a:lnTo>
                    <a:pt x="904" y="34"/>
                  </a:lnTo>
                  <a:lnTo>
                    <a:pt x="904" y="95"/>
                  </a:lnTo>
                  <a:close/>
                  <a:moveTo>
                    <a:pt x="759" y="64"/>
                  </a:moveTo>
                  <a:lnTo>
                    <a:pt x="759" y="222"/>
                  </a:lnTo>
                  <a:lnTo>
                    <a:pt x="727" y="222"/>
                  </a:lnTo>
                  <a:lnTo>
                    <a:pt x="727" y="3"/>
                  </a:lnTo>
                  <a:lnTo>
                    <a:pt x="771" y="3"/>
                  </a:lnTo>
                  <a:lnTo>
                    <a:pt x="807" y="134"/>
                  </a:lnTo>
                  <a:lnTo>
                    <a:pt x="807" y="3"/>
                  </a:lnTo>
                  <a:lnTo>
                    <a:pt x="837" y="3"/>
                  </a:lnTo>
                  <a:lnTo>
                    <a:pt x="837" y="222"/>
                  </a:lnTo>
                  <a:lnTo>
                    <a:pt x="801" y="222"/>
                  </a:lnTo>
                  <a:lnTo>
                    <a:pt x="759" y="64"/>
                  </a:lnTo>
                  <a:close/>
                  <a:moveTo>
                    <a:pt x="628" y="171"/>
                  </a:moveTo>
                  <a:lnTo>
                    <a:pt x="628" y="177"/>
                  </a:lnTo>
                  <a:lnTo>
                    <a:pt x="629" y="182"/>
                  </a:lnTo>
                  <a:lnTo>
                    <a:pt x="630" y="184"/>
                  </a:lnTo>
                  <a:lnTo>
                    <a:pt x="630" y="185"/>
                  </a:lnTo>
                  <a:lnTo>
                    <a:pt x="632" y="188"/>
                  </a:lnTo>
                  <a:lnTo>
                    <a:pt x="635" y="190"/>
                  </a:lnTo>
                  <a:lnTo>
                    <a:pt x="638" y="193"/>
                  </a:lnTo>
                  <a:lnTo>
                    <a:pt x="642" y="193"/>
                  </a:lnTo>
                  <a:lnTo>
                    <a:pt x="646" y="194"/>
                  </a:lnTo>
                  <a:lnTo>
                    <a:pt x="649" y="193"/>
                  </a:lnTo>
                  <a:lnTo>
                    <a:pt x="653" y="193"/>
                  </a:lnTo>
                  <a:lnTo>
                    <a:pt x="656" y="190"/>
                  </a:lnTo>
                  <a:lnTo>
                    <a:pt x="658" y="188"/>
                  </a:lnTo>
                  <a:lnTo>
                    <a:pt x="661" y="185"/>
                  </a:lnTo>
                  <a:lnTo>
                    <a:pt x="662" y="182"/>
                  </a:lnTo>
                  <a:lnTo>
                    <a:pt x="663" y="177"/>
                  </a:lnTo>
                  <a:lnTo>
                    <a:pt x="664" y="171"/>
                  </a:lnTo>
                  <a:lnTo>
                    <a:pt x="664" y="53"/>
                  </a:lnTo>
                  <a:lnTo>
                    <a:pt x="663" y="48"/>
                  </a:lnTo>
                  <a:lnTo>
                    <a:pt x="662" y="43"/>
                  </a:lnTo>
                  <a:lnTo>
                    <a:pt x="662" y="41"/>
                  </a:lnTo>
                  <a:lnTo>
                    <a:pt x="661" y="39"/>
                  </a:lnTo>
                  <a:lnTo>
                    <a:pt x="658" y="36"/>
                  </a:lnTo>
                  <a:lnTo>
                    <a:pt x="656" y="34"/>
                  </a:lnTo>
                  <a:lnTo>
                    <a:pt x="653" y="33"/>
                  </a:lnTo>
                  <a:lnTo>
                    <a:pt x="649" y="32"/>
                  </a:lnTo>
                  <a:lnTo>
                    <a:pt x="646" y="32"/>
                  </a:lnTo>
                  <a:lnTo>
                    <a:pt x="642" y="32"/>
                  </a:lnTo>
                  <a:lnTo>
                    <a:pt x="638" y="33"/>
                  </a:lnTo>
                  <a:lnTo>
                    <a:pt x="635" y="34"/>
                  </a:lnTo>
                  <a:lnTo>
                    <a:pt x="632" y="36"/>
                  </a:lnTo>
                  <a:lnTo>
                    <a:pt x="630" y="39"/>
                  </a:lnTo>
                  <a:lnTo>
                    <a:pt x="629" y="43"/>
                  </a:lnTo>
                  <a:lnTo>
                    <a:pt x="628" y="48"/>
                  </a:lnTo>
                  <a:lnTo>
                    <a:pt x="628" y="53"/>
                  </a:lnTo>
                  <a:lnTo>
                    <a:pt x="628" y="171"/>
                  </a:lnTo>
                  <a:close/>
                  <a:moveTo>
                    <a:pt x="593" y="55"/>
                  </a:moveTo>
                  <a:lnTo>
                    <a:pt x="593" y="49"/>
                  </a:lnTo>
                  <a:lnTo>
                    <a:pt x="594" y="43"/>
                  </a:lnTo>
                  <a:lnTo>
                    <a:pt x="595" y="37"/>
                  </a:lnTo>
                  <a:lnTo>
                    <a:pt x="596" y="35"/>
                  </a:lnTo>
                  <a:lnTo>
                    <a:pt x="597" y="32"/>
                  </a:lnTo>
                  <a:lnTo>
                    <a:pt x="598" y="28"/>
                  </a:lnTo>
                  <a:lnTo>
                    <a:pt x="601" y="22"/>
                  </a:lnTo>
                  <a:lnTo>
                    <a:pt x="603" y="18"/>
                  </a:lnTo>
                  <a:lnTo>
                    <a:pt x="607" y="15"/>
                  </a:lnTo>
                  <a:lnTo>
                    <a:pt x="610" y="12"/>
                  </a:lnTo>
                  <a:lnTo>
                    <a:pt x="614" y="9"/>
                  </a:lnTo>
                  <a:lnTo>
                    <a:pt x="618" y="6"/>
                  </a:lnTo>
                  <a:lnTo>
                    <a:pt x="624" y="4"/>
                  </a:lnTo>
                  <a:lnTo>
                    <a:pt x="628" y="2"/>
                  </a:lnTo>
                  <a:lnTo>
                    <a:pt x="633" y="1"/>
                  </a:lnTo>
                  <a:lnTo>
                    <a:pt x="639" y="0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7" y="1"/>
                  </a:lnTo>
                  <a:lnTo>
                    <a:pt x="663" y="2"/>
                  </a:lnTo>
                  <a:lnTo>
                    <a:pt x="668" y="4"/>
                  </a:lnTo>
                  <a:lnTo>
                    <a:pt x="672" y="6"/>
                  </a:lnTo>
                  <a:lnTo>
                    <a:pt x="676" y="9"/>
                  </a:lnTo>
                  <a:lnTo>
                    <a:pt x="681" y="12"/>
                  </a:lnTo>
                  <a:lnTo>
                    <a:pt x="684" y="15"/>
                  </a:lnTo>
                  <a:lnTo>
                    <a:pt x="687" y="18"/>
                  </a:lnTo>
                  <a:lnTo>
                    <a:pt x="690" y="22"/>
                  </a:lnTo>
                  <a:lnTo>
                    <a:pt x="692" y="28"/>
                  </a:lnTo>
                  <a:lnTo>
                    <a:pt x="694" y="32"/>
                  </a:lnTo>
                  <a:lnTo>
                    <a:pt x="695" y="37"/>
                  </a:lnTo>
                  <a:lnTo>
                    <a:pt x="697" y="43"/>
                  </a:lnTo>
                  <a:lnTo>
                    <a:pt x="698" y="49"/>
                  </a:lnTo>
                  <a:lnTo>
                    <a:pt x="698" y="55"/>
                  </a:lnTo>
                  <a:lnTo>
                    <a:pt x="698" y="169"/>
                  </a:lnTo>
                  <a:lnTo>
                    <a:pt x="698" y="176"/>
                  </a:lnTo>
                  <a:lnTo>
                    <a:pt x="697" y="182"/>
                  </a:lnTo>
                  <a:lnTo>
                    <a:pt x="695" y="187"/>
                  </a:lnTo>
                  <a:lnTo>
                    <a:pt x="695" y="190"/>
                  </a:lnTo>
                  <a:lnTo>
                    <a:pt x="694" y="193"/>
                  </a:lnTo>
                  <a:lnTo>
                    <a:pt x="692" y="198"/>
                  </a:lnTo>
                  <a:lnTo>
                    <a:pt x="690" y="202"/>
                  </a:lnTo>
                  <a:lnTo>
                    <a:pt x="687" y="206"/>
                  </a:lnTo>
                  <a:lnTo>
                    <a:pt x="684" y="211"/>
                  </a:lnTo>
                  <a:lnTo>
                    <a:pt x="681" y="214"/>
                  </a:lnTo>
                  <a:lnTo>
                    <a:pt x="676" y="217"/>
                  </a:lnTo>
                  <a:lnTo>
                    <a:pt x="672" y="219"/>
                  </a:lnTo>
                  <a:lnTo>
                    <a:pt x="668" y="221"/>
                  </a:lnTo>
                  <a:lnTo>
                    <a:pt x="663" y="222"/>
                  </a:lnTo>
                  <a:lnTo>
                    <a:pt x="657" y="223"/>
                  </a:lnTo>
                  <a:lnTo>
                    <a:pt x="652" y="224"/>
                  </a:lnTo>
                  <a:lnTo>
                    <a:pt x="646" y="224"/>
                  </a:lnTo>
                  <a:lnTo>
                    <a:pt x="639" y="224"/>
                  </a:lnTo>
                  <a:lnTo>
                    <a:pt x="633" y="223"/>
                  </a:lnTo>
                  <a:lnTo>
                    <a:pt x="628" y="222"/>
                  </a:lnTo>
                  <a:lnTo>
                    <a:pt x="624" y="221"/>
                  </a:lnTo>
                  <a:lnTo>
                    <a:pt x="618" y="219"/>
                  </a:lnTo>
                  <a:lnTo>
                    <a:pt x="614" y="217"/>
                  </a:lnTo>
                  <a:lnTo>
                    <a:pt x="610" y="214"/>
                  </a:lnTo>
                  <a:lnTo>
                    <a:pt x="607" y="211"/>
                  </a:lnTo>
                  <a:lnTo>
                    <a:pt x="603" y="206"/>
                  </a:lnTo>
                  <a:lnTo>
                    <a:pt x="601" y="202"/>
                  </a:lnTo>
                  <a:lnTo>
                    <a:pt x="598" y="198"/>
                  </a:lnTo>
                  <a:lnTo>
                    <a:pt x="597" y="193"/>
                  </a:lnTo>
                  <a:lnTo>
                    <a:pt x="595" y="187"/>
                  </a:lnTo>
                  <a:lnTo>
                    <a:pt x="594" y="182"/>
                  </a:lnTo>
                  <a:lnTo>
                    <a:pt x="593" y="176"/>
                  </a:lnTo>
                  <a:lnTo>
                    <a:pt x="593" y="169"/>
                  </a:lnTo>
                  <a:lnTo>
                    <a:pt x="593" y="55"/>
                  </a:lnTo>
                  <a:close/>
                  <a:moveTo>
                    <a:pt x="467" y="3"/>
                  </a:moveTo>
                  <a:lnTo>
                    <a:pt x="573" y="3"/>
                  </a:lnTo>
                  <a:lnTo>
                    <a:pt x="573" y="34"/>
                  </a:lnTo>
                  <a:lnTo>
                    <a:pt x="537" y="34"/>
                  </a:lnTo>
                  <a:lnTo>
                    <a:pt x="537" y="222"/>
                  </a:lnTo>
                  <a:lnTo>
                    <a:pt x="503" y="222"/>
                  </a:lnTo>
                  <a:lnTo>
                    <a:pt x="503" y="34"/>
                  </a:lnTo>
                  <a:lnTo>
                    <a:pt x="467" y="34"/>
                  </a:lnTo>
                  <a:lnTo>
                    <a:pt x="467" y="3"/>
                  </a:lnTo>
                  <a:close/>
                  <a:moveTo>
                    <a:pt x="348" y="3"/>
                  </a:moveTo>
                  <a:lnTo>
                    <a:pt x="454" y="3"/>
                  </a:lnTo>
                  <a:lnTo>
                    <a:pt x="454" y="34"/>
                  </a:lnTo>
                  <a:lnTo>
                    <a:pt x="417" y="34"/>
                  </a:lnTo>
                  <a:lnTo>
                    <a:pt x="417" y="222"/>
                  </a:lnTo>
                  <a:lnTo>
                    <a:pt x="383" y="222"/>
                  </a:lnTo>
                  <a:lnTo>
                    <a:pt x="383" y="34"/>
                  </a:lnTo>
                  <a:lnTo>
                    <a:pt x="348" y="34"/>
                  </a:lnTo>
                  <a:lnTo>
                    <a:pt x="348" y="3"/>
                  </a:lnTo>
                  <a:close/>
                  <a:moveTo>
                    <a:pt x="259" y="3"/>
                  </a:moveTo>
                  <a:lnTo>
                    <a:pt x="294" y="3"/>
                  </a:lnTo>
                  <a:lnTo>
                    <a:pt x="294" y="190"/>
                  </a:lnTo>
                  <a:lnTo>
                    <a:pt x="350" y="190"/>
                  </a:lnTo>
                  <a:lnTo>
                    <a:pt x="350" y="222"/>
                  </a:lnTo>
                  <a:lnTo>
                    <a:pt x="259" y="222"/>
                  </a:lnTo>
                  <a:lnTo>
                    <a:pt x="259" y="3"/>
                  </a:lnTo>
                  <a:close/>
                  <a:moveTo>
                    <a:pt x="159" y="171"/>
                  </a:moveTo>
                  <a:lnTo>
                    <a:pt x="159" y="177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1" y="185"/>
                  </a:lnTo>
                  <a:lnTo>
                    <a:pt x="164" y="188"/>
                  </a:lnTo>
                  <a:lnTo>
                    <a:pt x="167" y="190"/>
                  </a:lnTo>
                  <a:lnTo>
                    <a:pt x="169" y="193"/>
                  </a:lnTo>
                  <a:lnTo>
                    <a:pt x="173" y="193"/>
                  </a:lnTo>
                  <a:lnTo>
                    <a:pt x="176" y="194"/>
                  </a:lnTo>
                  <a:lnTo>
                    <a:pt x="180" y="193"/>
                  </a:lnTo>
                  <a:lnTo>
                    <a:pt x="184" y="193"/>
                  </a:lnTo>
                  <a:lnTo>
                    <a:pt x="187" y="190"/>
                  </a:lnTo>
                  <a:lnTo>
                    <a:pt x="190" y="188"/>
                  </a:lnTo>
                  <a:lnTo>
                    <a:pt x="192" y="185"/>
                  </a:lnTo>
                  <a:lnTo>
                    <a:pt x="193" y="182"/>
                  </a:lnTo>
                  <a:lnTo>
                    <a:pt x="194" y="177"/>
                  </a:lnTo>
                  <a:lnTo>
                    <a:pt x="194" y="171"/>
                  </a:lnTo>
                  <a:lnTo>
                    <a:pt x="194" y="53"/>
                  </a:lnTo>
                  <a:lnTo>
                    <a:pt x="194" y="48"/>
                  </a:lnTo>
                  <a:lnTo>
                    <a:pt x="193" y="43"/>
                  </a:lnTo>
                  <a:lnTo>
                    <a:pt x="192" y="41"/>
                  </a:lnTo>
                  <a:lnTo>
                    <a:pt x="192" y="39"/>
                  </a:lnTo>
                  <a:lnTo>
                    <a:pt x="190" y="36"/>
                  </a:lnTo>
                  <a:lnTo>
                    <a:pt x="187" y="34"/>
                  </a:lnTo>
                  <a:lnTo>
                    <a:pt x="184" y="33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3" y="32"/>
                  </a:lnTo>
                  <a:lnTo>
                    <a:pt x="169" y="33"/>
                  </a:lnTo>
                  <a:lnTo>
                    <a:pt x="167" y="34"/>
                  </a:lnTo>
                  <a:lnTo>
                    <a:pt x="164" y="36"/>
                  </a:lnTo>
                  <a:lnTo>
                    <a:pt x="161" y="39"/>
                  </a:lnTo>
                  <a:lnTo>
                    <a:pt x="160" y="43"/>
                  </a:lnTo>
                  <a:lnTo>
                    <a:pt x="159" y="48"/>
                  </a:lnTo>
                  <a:lnTo>
                    <a:pt x="159" y="53"/>
                  </a:lnTo>
                  <a:lnTo>
                    <a:pt x="159" y="171"/>
                  </a:lnTo>
                  <a:close/>
                  <a:moveTo>
                    <a:pt x="124" y="55"/>
                  </a:moveTo>
                  <a:lnTo>
                    <a:pt x="124" y="49"/>
                  </a:lnTo>
                  <a:lnTo>
                    <a:pt x="125" y="43"/>
                  </a:lnTo>
                  <a:lnTo>
                    <a:pt x="127" y="37"/>
                  </a:lnTo>
                  <a:lnTo>
                    <a:pt x="127" y="35"/>
                  </a:lnTo>
                  <a:lnTo>
                    <a:pt x="128" y="32"/>
                  </a:lnTo>
                  <a:lnTo>
                    <a:pt x="130" y="28"/>
                  </a:lnTo>
                  <a:lnTo>
                    <a:pt x="132" y="22"/>
                  </a:lnTo>
                  <a:lnTo>
                    <a:pt x="135" y="18"/>
                  </a:lnTo>
                  <a:lnTo>
                    <a:pt x="138" y="15"/>
                  </a:lnTo>
                  <a:lnTo>
                    <a:pt x="141" y="12"/>
                  </a:lnTo>
                  <a:lnTo>
                    <a:pt x="146" y="9"/>
                  </a:lnTo>
                  <a:lnTo>
                    <a:pt x="150" y="6"/>
                  </a:lnTo>
                  <a:lnTo>
                    <a:pt x="154" y="4"/>
                  </a:lnTo>
                  <a:lnTo>
                    <a:pt x="159" y="2"/>
                  </a:lnTo>
                  <a:lnTo>
                    <a:pt x="165" y="1"/>
                  </a:lnTo>
                  <a:lnTo>
                    <a:pt x="171" y="0"/>
                  </a:lnTo>
                  <a:lnTo>
                    <a:pt x="176" y="0"/>
                  </a:lnTo>
                  <a:lnTo>
                    <a:pt x="183" y="0"/>
                  </a:lnTo>
                  <a:lnTo>
                    <a:pt x="189" y="1"/>
                  </a:lnTo>
                  <a:lnTo>
                    <a:pt x="194" y="2"/>
                  </a:lnTo>
                  <a:lnTo>
                    <a:pt x="199" y="4"/>
                  </a:lnTo>
                  <a:lnTo>
                    <a:pt x="204" y="6"/>
                  </a:lnTo>
                  <a:lnTo>
                    <a:pt x="208" y="9"/>
                  </a:lnTo>
                  <a:lnTo>
                    <a:pt x="212" y="12"/>
                  </a:lnTo>
                  <a:lnTo>
                    <a:pt x="215" y="15"/>
                  </a:lnTo>
                  <a:lnTo>
                    <a:pt x="219" y="18"/>
                  </a:lnTo>
                  <a:lnTo>
                    <a:pt x="222" y="22"/>
                  </a:lnTo>
                  <a:lnTo>
                    <a:pt x="224" y="28"/>
                  </a:lnTo>
                  <a:lnTo>
                    <a:pt x="226" y="32"/>
                  </a:lnTo>
                  <a:lnTo>
                    <a:pt x="227" y="37"/>
                  </a:lnTo>
                  <a:lnTo>
                    <a:pt x="228" y="43"/>
                  </a:lnTo>
                  <a:lnTo>
                    <a:pt x="229" y="49"/>
                  </a:lnTo>
                  <a:lnTo>
                    <a:pt x="229" y="55"/>
                  </a:lnTo>
                  <a:lnTo>
                    <a:pt x="229" y="169"/>
                  </a:lnTo>
                  <a:lnTo>
                    <a:pt x="229" y="176"/>
                  </a:lnTo>
                  <a:lnTo>
                    <a:pt x="228" y="182"/>
                  </a:lnTo>
                  <a:lnTo>
                    <a:pt x="227" y="187"/>
                  </a:lnTo>
                  <a:lnTo>
                    <a:pt x="226" y="190"/>
                  </a:lnTo>
                  <a:lnTo>
                    <a:pt x="226" y="193"/>
                  </a:lnTo>
                  <a:lnTo>
                    <a:pt x="224" y="198"/>
                  </a:lnTo>
                  <a:lnTo>
                    <a:pt x="222" y="202"/>
                  </a:lnTo>
                  <a:lnTo>
                    <a:pt x="219" y="206"/>
                  </a:lnTo>
                  <a:lnTo>
                    <a:pt x="215" y="211"/>
                  </a:lnTo>
                  <a:lnTo>
                    <a:pt x="212" y="214"/>
                  </a:lnTo>
                  <a:lnTo>
                    <a:pt x="208" y="217"/>
                  </a:lnTo>
                  <a:lnTo>
                    <a:pt x="204" y="219"/>
                  </a:lnTo>
                  <a:lnTo>
                    <a:pt x="199" y="221"/>
                  </a:lnTo>
                  <a:lnTo>
                    <a:pt x="194" y="222"/>
                  </a:lnTo>
                  <a:lnTo>
                    <a:pt x="189" y="223"/>
                  </a:lnTo>
                  <a:lnTo>
                    <a:pt x="183" y="224"/>
                  </a:lnTo>
                  <a:lnTo>
                    <a:pt x="176" y="224"/>
                  </a:lnTo>
                  <a:lnTo>
                    <a:pt x="171" y="224"/>
                  </a:lnTo>
                  <a:lnTo>
                    <a:pt x="165" y="223"/>
                  </a:lnTo>
                  <a:lnTo>
                    <a:pt x="159" y="222"/>
                  </a:lnTo>
                  <a:lnTo>
                    <a:pt x="154" y="221"/>
                  </a:lnTo>
                  <a:lnTo>
                    <a:pt x="150" y="219"/>
                  </a:lnTo>
                  <a:lnTo>
                    <a:pt x="146" y="217"/>
                  </a:lnTo>
                  <a:lnTo>
                    <a:pt x="141" y="214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32" y="202"/>
                  </a:lnTo>
                  <a:lnTo>
                    <a:pt x="130" y="198"/>
                  </a:lnTo>
                  <a:lnTo>
                    <a:pt x="128" y="193"/>
                  </a:lnTo>
                  <a:lnTo>
                    <a:pt x="127" y="187"/>
                  </a:lnTo>
                  <a:lnTo>
                    <a:pt x="125" y="182"/>
                  </a:lnTo>
                  <a:lnTo>
                    <a:pt x="124" y="176"/>
                  </a:lnTo>
                  <a:lnTo>
                    <a:pt x="124" y="169"/>
                  </a:lnTo>
                  <a:lnTo>
                    <a:pt x="124" y="55"/>
                  </a:lnTo>
                  <a:close/>
                  <a:moveTo>
                    <a:pt x="35" y="34"/>
                  </a:moveTo>
                  <a:lnTo>
                    <a:pt x="35" y="108"/>
                  </a:lnTo>
                  <a:lnTo>
                    <a:pt x="50" y="108"/>
                  </a:lnTo>
                  <a:lnTo>
                    <a:pt x="55" y="108"/>
                  </a:lnTo>
                  <a:lnTo>
                    <a:pt x="58" y="107"/>
                  </a:lnTo>
                  <a:lnTo>
                    <a:pt x="61" y="106"/>
                  </a:lnTo>
                  <a:lnTo>
                    <a:pt x="63" y="104"/>
                  </a:lnTo>
                  <a:lnTo>
                    <a:pt x="65" y="102"/>
                  </a:lnTo>
                  <a:lnTo>
                    <a:pt x="66" y="97"/>
                  </a:lnTo>
                  <a:lnTo>
                    <a:pt x="67" y="93"/>
                  </a:lnTo>
                  <a:lnTo>
                    <a:pt x="67" y="88"/>
                  </a:lnTo>
                  <a:lnTo>
                    <a:pt x="67" y="55"/>
                  </a:lnTo>
                  <a:lnTo>
                    <a:pt x="67" y="50"/>
                  </a:lnTo>
                  <a:lnTo>
                    <a:pt x="66" y="44"/>
                  </a:lnTo>
                  <a:lnTo>
                    <a:pt x="65" y="41"/>
                  </a:lnTo>
                  <a:lnTo>
                    <a:pt x="63" y="38"/>
                  </a:lnTo>
                  <a:lnTo>
                    <a:pt x="61" y="36"/>
                  </a:lnTo>
                  <a:lnTo>
                    <a:pt x="58" y="35"/>
                  </a:lnTo>
                  <a:lnTo>
                    <a:pt x="55" y="34"/>
                  </a:lnTo>
                  <a:lnTo>
                    <a:pt x="50" y="34"/>
                  </a:lnTo>
                  <a:lnTo>
                    <a:pt x="35" y="34"/>
                  </a:lnTo>
                  <a:close/>
                  <a:moveTo>
                    <a:pt x="102" y="57"/>
                  </a:moveTo>
                  <a:lnTo>
                    <a:pt x="102" y="86"/>
                  </a:lnTo>
                  <a:lnTo>
                    <a:pt x="101" y="92"/>
                  </a:lnTo>
                  <a:lnTo>
                    <a:pt x="101" y="97"/>
                  </a:lnTo>
                  <a:lnTo>
                    <a:pt x="100" y="104"/>
                  </a:lnTo>
                  <a:lnTo>
                    <a:pt x="99" y="109"/>
                  </a:lnTo>
                  <a:lnTo>
                    <a:pt x="97" y="113"/>
                  </a:lnTo>
                  <a:lnTo>
                    <a:pt x="95" y="118"/>
                  </a:lnTo>
                  <a:lnTo>
                    <a:pt x="92" y="122"/>
                  </a:lnTo>
                  <a:lnTo>
                    <a:pt x="89" y="126"/>
                  </a:lnTo>
                  <a:lnTo>
                    <a:pt x="85" y="129"/>
                  </a:lnTo>
                  <a:lnTo>
                    <a:pt x="82" y="132"/>
                  </a:lnTo>
                  <a:lnTo>
                    <a:pt x="78" y="134"/>
                  </a:lnTo>
                  <a:lnTo>
                    <a:pt x="73" y="136"/>
                  </a:lnTo>
                  <a:lnTo>
                    <a:pt x="68" y="138"/>
                  </a:lnTo>
                  <a:lnTo>
                    <a:pt x="62" y="139"/>
                  </a:lnTo>
                  <a:lnTo>
                    <a:pt x="57" y="140"/>
                  </a:lnTo>
                  <a:lnTo>
                    <a:pt x="50" y="140"/>
                  </a:lnTo>
                  <a:lnTo>
                    <a:pt x="35" y="140"/>
                  </a:lnTo>
                  <a:lnTo>
                    <a:pt x="35" y="222"/>
                  </a:lnTo>
                  <a:lnTo>
                    <a:pt x="0" y="222"/>
                  </a:lnTo>
                  <a:lnTo>
                    <a:pt x="0" y="3"/>
                  </a:lnTo>
                  <a:lnTo>
                    <a:pt x="50" y="3"/>
                  </a:lnTo>
                  <a:lnTo>
                    <a:pt x="57" y="3"/>
                  </a:lnTo>
                  <a:lnTo>
                    <a:pt x="62" y="3"/>
                  </a:lnTo>
                  <a:lnTo>
                    <a:pt x="68" y="4"/>
                  </a:lnTo>
                  <a:lnTo>
                    <a:pt x="73" y="6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9" y="17"/>
                  </a:lnTo>
                  <a:lnTo>
                    <a:pt x="92" y="20"/>
                  </a:lnTo>
                  <a:lnTo>
                    <a:pt x="95" y="24"/>
                  </a:lnTo>
                  <a:lnTo>
                    <a:pt x="97" y="29"/>
                  </a:lnTo>
                  <a:lnTo>
                    <a:pt x="99" y="34"/>
                  </a:lnTo>
                  <a:lnTo>
                    <a:pt x="100" y="39"/>
                  </a:lnTo>
                  <a:lnTo>
                    <a:pt x="101" y="44"/>
                  </a:lnTo>
                  <a:lnTo>
                    <a:pt x="101" y="51"/>
                  </a:lnTo>
                  <a:lnTo>
                    <a:pt x="102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97742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957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2EFEC2C7-86FC-4269-ACDE-B6E0AE94C540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4" name="Freeform 30"/>
            <p:cNvSpPr>
              <a:spLocks noEditPoints="1"/>
            </p:cNvSpPr>
            <p:nvPr userDrawn="1"/>
          </p:nvSpPr>
          <p:spPr bwMode="auto">
            <a:xfrm>
              <a:off x="9094170" y="6475574"/>
              <a:ext cx="1502915" cy="209315"/>
            </a:xfrm>
            <a:custGeom>
              <a:avLst/>
              <a:gdLst>
                <a:gd name="T0" fmla="*/ 1559 w 1594"/>
                <a:gd name="T1" fmla="*/ 219 h 222"/>
                <a:gd name="T2" fmla="*/ 1559 w 1594"/>
                <a:gd name="T3" fmla="*/ 0 h 222"/>
                <a:gd name="T4" fmla="*/ 1418 w 1594"/>
                <a:gd name="T5" fmla="*/ 104 h 222"/>
                <a:gd name="T6" fmla="*/ 1427 w 1594"/>
                <a:gd name="T7" fmla="*/ 85 h 222"/>
                <a:gd name="T8" fmla="*/ 1421 w 1594"/>
                <a:gd name="T9" fmla="*/ 33 h 222"/>
                <a:gd name="T10" fmla="*/ 1462 w 1594"/>
                <a:gd name="T11" fmla="*/ 83 h 222"/>
                <a:gd name="T12" fmla="*/ 1455 w 1594"/>
                <a:gd name="T13" fmla="*/ 115 h 222"/>
                <a:gd name="T14" fmla="*/ 1432 w 1594"/>
                <a:gd name="T15" fmla="*/ 133 h 222"/>
                <a:gd name="T16" fmla="*/ 1394 w 1594"/>
                <a:gd name="T17" fmla="*/ 219 h 222"/>
                <a:gd name="T18" fmla="*/ 1428 w 1594"/>
                <a:gd name="T19" fmla="*/ 1 h 222"/>
                <a:gd name="T20" fmla="*/ 1451 w 1594"/>
                <a:gd name="T21" fmla="*/ 17 h 222"/>
                <a:gd name="T22" fmla="*/ 1461 w 1594"/>
                <a:gd name="T23" fmla="*/ 48 h 222"/>
                <a:gd name="T24" fmla="*/ 1290 w 1594"/>
                <a:gd name="T25" fmla="*/ 104 h 222"/>
                <a:gd name="T26" fmla="*/ 1300 w 1594"/>
                <a:gd name="T27" fmla="*/ 85 h 222"/>
                <a:gd name="T28" fmla="*/ 1293 w 1594"/>
                <a:gd name="T29" fmla="*/ 33 h 222"/>
                <a:gd name="T30" fmla="*/ 1334 w 1594"/>
                <a:gd name="T31" fmla="*/ 83 h 222"/>
                <a:gd name="T32" fmla="*/ 1327 w 1594"/>
                <a:gd name="T33" fmla="*/ 115 h 222"/>
                <a:gd name="T34" fmla="*/ 1305 w 1594"/>
                <a:gd name="T35" fmla="*/ 133 h 222"/>
                <a:gd name="T36" fmla="*/ 1266 w 1594"/>
                <a:gd name="T37" fmla="*/ 219 h 222"/>
                <a:gd name="T38" fmla="*/ 1300 w 1594"/>
                <a:gd name="T39" fmla="*/ 1 h 222"/>
                <a:gd name="T40" fmla="*/ 1324 w 1594"/>
                <a:gd name="T41" fmla="*/ 17 h 222"/>
                <a:gd name="T42" fmla="*/ 1334 w 1594"/>
                <a:gd name="T43" fmla="*/ 48 h 222"/>
                <a:gd name="T44" fmla="*/ 1134 w 1594"/>
                <a:gd name="T45" fmla="*/ 181 h 222"/>
                <a:gd name="T46" fmla="*/ 1150 w 1594"/>
                <a:gd name="T47" fmla="*/ 191 h 222"/>
                <a:gd name="T48" fmla="*/ 1167 w 1594"/>
                <a:gd name="T49" fmla="*/ 179 h 222"/>
                <a:gd name="T50" fmla="*/ 1201 w 1594"/>
                <a:gd name="T51" fmla="*/ 173 h 222"/>
                <a:gd name="T52" fmla="*/ 1191 w 1594"/>
                <a:gd name="T53" fmla="*/ 203 h 222"/>
                <a:gd name="T54" fmla="*/ 1171 w 1594"/>
                <a:gd name="T55" fmla="*/ 218 h 222"/>
                <a:gd name="T56" fmla="*/ 1137 w 1594"/>
                <a:gd name="T57" fmla="*/ 221 h 222"/>
                <a:gd name="T58" fmla="*/ 1111 w 1594"/>
                <a:gd name="T59" fmla="*/ 208 h 222"/>
                <a:gd name="T60" fmla="*/ 1099 w 1594"/>
                <a:gd name="T61" fmla="*/ 179 h 222"/>
                <a:gd name="T62" fmla="*/ 1030 w 1594"/>
                <a:gd name="T63" fmla="*/ 149 h 222"/>
                <a:gd name="T64" fmla="*/ 992 w 1594"/>
                <a:gd name="T65" fmla="*/ 179 h 222"/>
                <a:gd name="T66" fmla="*/ 872 w 1594"/>
                <a:gd name="T67" fmla="*/ 131 h 222"/>
                <a:gd name="T68" fmla="*/ 861 w 1594"/>
                <a:gd name="T69" fmla="*/ 95 h 222"/>
                <a:gd name="T70" fmla="*/ 872 w 1594"/>
                <a:gd name="T71" fmla="*/ 131 h 222"/>
                <a:gd name="T72" fmla="*/ 733 w 1594"/>
                <a:gd name="T73" fmla="*/ 219 h 222"/>
                <a:gd name="T74" fmla="*/ 666 w 1594"/>
                <a:gd name="T75" fmla="*/ 124 h 222"/>
                <a:gd name="T76" fmla="*/ 584 w 1594"/>
                <a:gd name="T77" fmla="*/ 0 h 222"/>
                <a:gd name="T78" fmla="*/ 482 w 1594"/>
                <a:gd name="T79" fmla="*/ 151 h 222"/>
                <a:gd name="T80" fmla="*/ 526 w 1594"/>
                <a:gd name="T81" fmla="*/ 0 h 222"/>
                <a:gd name="T82" fmla="*/ 347 w 1594"/>
                <a:gd name="T83" fmla="*/ 31 h 222"/>
                <a:gd name="T84" fmla="*/ 375 w 1594"/>
                <a:gd name="T85" fmla="*/ 94 h 222"/>
                <a:gd name="T86" fmla="*/ 381 w 1594"/>
                <a:gd name="T87" fmla="*/ 53 h 222"/>
                <a:gd name="T88" fmla="*/ 374 w 1594"/>
                <a:gd name="T89" fmla="*/ 33 h 222"/>
                <a:gd name="T90" fmla="*/ 384 w 1594"/>
                <a:gd name="T91" fmla="*/ 215 h 222"/>
                <a:gd name="T92" fmla="*/ 381 w 1594"/>
                <a:gd name="T93" fmla="*/ 145 h 222"/>
                <a:gd name="T94" fmla="*/ 365 w 1594"/>
                <a:gd name="T95" fmla="*/ 130 h 222"/>
                <a:gd name="T96" fmla="*/ 365 w 1594"/>
                <a:gd name="T97" fmla="*/ 0 h 222"/>
                <a:gd name="T98" fmla="*/ 397 w 1594"/>
                <a:gd name="T99" fmla="*/ 7 h 222"/>
                <a:gd name="T100" fmla="*/ 413 w 1594"/>
                <a:gd name="T101" fmla="*/ 28 h 222"/>
                <a:gd name="T102" fmla="*/ 416 w 1594"/>
                <a:gd name="T103" fmla="*/ 75 h 222"/>
                <a:gd name="T104" fmla="*/ 405 w 1594"/>
                <a:gd name="T105" fmla="*/ 103 h 222"/>
                <a:gd name="T106" fmla="*/ 402 w 1594"/>
                <a:gd name="T107" fmla="*/ 117 h 222"/>
                <a:gd name="T108" fmla="*/ 416 w 1594"/>
                <a:gd name="T109" fmla="*/ 146 h 222"/>
                <a:gd name="T110" fmla="*/ 418 w 1594"/>
                <a:gd name="T111" fmla="*/ 213 h 222"/>
                <a:gd name="T112" fmla="*/ 227 w 1594"/>
                <a:gd name="T113" fmla="*/ 38 h 222"/>
                <a:gd name="T114" fmla="*/ 200 w 1594"/>
                <a:gd name="T115" fmla="*/ 219 h 222"/>
                <a:gd name="T116" fmla="*/ 97 w 1594"/>
                <a:gd name="T117" fmla="*/ 0 h 222"/>
                <a:gd name="T118" fmla="*/ 55 w 1594"/>
                <a:gd name="T119" fmla="*/ 219 h 222"/>
                <a:gd name="T120" fmla="*/ 73 w 1594"/>
                <a:gd name="T121" fmla="*/ 156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94" h="222">
                  <a:moveTo>
                    <a:pt x="1516" y="149"/>
                  </a:moveTo>
                  <a:lnTo>
                    <a:pt x="1549" y="149"/>
                  </a:lnTo>
                  <a:lnTo>
                    <a:pt x="1533" y="38"/>
                  </a:lnTo>
                  <a:lnTo>
                    <a:pt x="1516" y="149"/>
                  </a:lnTo>
                  <a:close/>
                  <a:moveTo>
                    <a:pt x="1594" y="219"/>
                  </a:moveTo>
                  <a:lnTo>
                    <a:pt x="1559" y="219"/>
                  </a:lnTo>
                  <a:lnTo>
                    <a:pt x="1554" y="179"/>
                  </a:lnTo>
                  <a:lnTo>
                    <a:pt x="1512" y="179"/>
                  </a:lnTo>
                  <a:lnTo>
                    <a:pt x="1505" y="219"/>
                  </a:lnTo>
                  <a:lnTo>
                    <a:pt x="1474" y="219"/>
                  </a:lnTo>
                  <a:lnTo>
                    <a:pt x="1508" y="0"/>
                  </a:lnTo>
                  <a:lnTo>
                    <a:pt x="1559" y="0"/>
                  </a:lnTo>
                  <a:lnTo>
                    <a:pt x="1594" y="219"/>
                  </a:lnTo>
                  <a:close/>
                  <a:moveTo>
                    <a:pt x="1394" y="31"/>
                  </a:moveTo>
                  <a:lnTo>
                    <a:pt x="1394" y="105"/>
                  </a:lnTo>
                  <a:lnTo>
                    <a:pt x="1410" y="105"/>
                  </a:lnTo>
                  <a:lnTo>
                    <a:pt x="1414" y="105"/>
                  </a:lnTo>
                  <a:lnTo>
                    <a:pt x="1418" y="104"/>
                  </a:lnTo>
                  <a:lnTo>
                    <a:pt x="1421" y="103"/>
                  </a:lnTo>
                  <a:lnTo>
                    <a:pt x="1423" y="101"/>
                  </a:lnTo>
                  <a:lnTo>
                    <a:pt x="1425" y="99"/>
                  </a:lnTo>
                  <a:lnTo>
                    <a:pt x="1426" y="94"/>
                  </a:lnTo>
                  <a:lnTo>
                    <a:pt x="1427" y="90"/>
                  </a:lnTo>
                  <a:lnTo>
                    <a:pt x="1427" y="85"/>
                  </a:lnTo>
                  <a:lnTo>
                    <a:pt x="1427" y="52"/>
                  </a:lnTo>
                  <a:lnTo>
                    <a:pt x="1427" y="47"/>
                  </a:lnTo>
                  <a:lnTo>
                    <a:pt x="1426" y="41"/>
                  </a:lnTo>
                  <a:lnTo>
                    <a:pt x="1425" y="38"/>
                  </a:lnTo>
                  <a:lnTo>
                    <a:pt x="1423" y="35"/>
                  </a:lnTo>
                  <a:lnTo>
                    <a:pt x="1421" y="33"/>
                  </a:lnTo>
                  <a:lnTo>
                    <a:pt x="1418" y="32"/>
                  </a:lnTo>
                  <a:lnTo>
                    <a:pt x="1414" y="31"/>
                  </a:lnTo>
                  <a:lnTo>
                    <a:pt x="1410" y="31"/>
                  </a:lnTo>
                  <a:lnTo>
                    <a:pt x="1394" y="31"/>
                  </a:lnTo>
                  <a:close/>
                  <a:moveTo>
                    <a:pt x="1462" y="54"/>
                  </a:moveTo>
                  <a:lnTo>
                    <a:pt x="1462" y="83"/>
                  </a:lnTo>
                  <a:lnTo>
                    <a:pt x="1461" y="89"/>
                  </a:lnTo>
                  <a:lnTo>
                    <a:pt x="1461" y="94"/>
                  </a:lnTo>
                  <a:lnTo>
                    <a:pt x="1460" y="101"/>
                  </a:lnTo>
                  <a:lnTo>
                    <a:pt x="1459" y="106"/>
                  </a:lnTo>
                  <a:lnTo>
                    <a:pt x="1457" y="110"/>
                  </a:lnTo>
                  <a:lnTo>
                    <a:pt x="1455" y="115"/>
                  </a:lnTo>
                  <a:lnTo>
                    <a:pt x="1451" y="119"/>
                  </a:lnTo>
                  <a:lnTo>
                    <a:pt x="1449" y="123"/>
                  </a:lnTo>
                  <a:lnTo>
                    <a:pt x="1445" y="126"/>
                  </a:lnTo>
                  <a:lnTo>
                    <a:pt x="1442" y="129"/>
                  </a:lnTo>
                  <a:lnTo>
                    <a:pt x="1438" y="131"/>
                  </a:lnTo>
                  <a:lnTo>
                    <a:pt x="1432" y="133"/>
                  </a:lnTo>
                  <a:lnTo>
                    <a:pt x="1428" y="135"/>
                  </a:lnTo>
                  <a:lnTo>
                    <a:pt x="1423" y="136"/>
                  </a:lnTo>
                  <a:lnTo>
                    <a:pt x="1416" y="137"/>
                  </a:lnTo>
                  <a:lnTo>
                    <a:pt x="1410" y="137"/>
                  </a:lnTo>
                  <a:lnTo>
                    <a:pt x="1394" y="137"/>
                  </a:lnTo>
                  <a:lnTo>
                    <a:pt x="1394" y="219"/>
                  </a:lnTo>
                  <a:lnTo>
                    <a:pt x="1359" y="219"/>
                  </a:lnTo>
                  <a:lnTo>
                    <a:pt x="1359" y="0"/>
                  </a:lnTo>
                  <a:lnTo>
                    <a:pt x="1410" y="0"/>
                  </a:lnTo>
                  <a:lnTo>
                    <a:pt x="1416" y="0"/>
                  </a:lnTo>
                  <a:lnTo>
                    <a:pt x="1423" y="0"/>
                  </a:lnTo>
                  <a:lnTo>
                    <a:pt x="1428" y="1"/>
                  </a:lnTo>
                  <a:lnTo>
                    <a:pt x="1432" y="3"/>
                  </a:lnTo>
                  <a:lnTo>
                    <a:pt x="1438" y="6"/>
                  </a:lnTo>
                  <a:lnTo>
                    <a:pt x="1442" y="8"/>
                  </a:lnTo>
                  <a:lnTo>
                    <a:pt x="1445" y="11"/>
                  </a:lnTo>
                  <a:lnTo>
                    <a:pt x="1449" y="14"/>
                  </a:lnTo>
                  <a:lnTo>
                    <a:pt x="1451" y="17"/>
                  </a:lnTo>
                  <a:lnTo>
                    <a:pt x="1455" y="21"/>
                  </a:lnTo>
                  <a:lnTo>
                    <a:pt x="1457" y="26"/>
                  </a:lnTo>
                  <a:lnTo>
                    <a:pt x="1459" y="31"/>
                  </a:lnTo>
                  <a:lnTo>
                    <a:pt x="1460" y="36"/>
                  </a:lnTo>
                  <a:lnTo>
                    <a:pt x="1461" y="41"/>
                  </a:lnTo>
                  <a:lnTo>
                    <a:pt x="1461" y="48"/>
                  </a:lnTo>
                  <a:lnTo>
                    <a:pt x="1462" y="54"/>
                  </a:lnTo>
                  <a:close/>
                  <a:moveTo>
                    <a:pt x="1266" y="31"/>
                  </a:moveTo>
                  <a:lnTo>
                    <a:pt x="1266" y="105"/>
                  </a:lnTo>
                  <a:lnTo>
                    <a:pt x="1283" y="105"/>
                  </a:lnTo>
                  <a:lnTo>
                    <a:pt x="1286" y="105"/>
                  </a:lnTo>
                  <a:lnTo>
                    <a:pt x="1290" y="104"/>
                  </a:lnTo>
                  <a:lnTo>
                    <a:pt x="1293" y="103"/>
                  </a:lnTo>
                  <a:lnTo>
                    <a:pt x="1295" y="101"/>
                  </a:lnTo>
                  <a:lnTo>
                    <a:pt x="1297" y="99"/>
                  </a:lnTo>
                  <a:lnTo>
                    <a:pt x="1298" y="94"/>
                  </a:lnTo>
                  <a:lnTo>
                    <a:pt x="1299" y="90"/>
                  </a:lnTo>
                  <a:lnTo>
                    <a:pt x="1300" y="85"/>
                  </a:lnTo>
                  <a:lnTo>
                    <a:pt x="1300" y="52"/>
                  </a:lnTo>
                  <a:lnTo>
                    <a:pt x="1299" y="47"/>
                  </a:lnTo>
                  <a:lnTo>
                    <a:pt x="1298" y="41"/>
                  </a:lnTo>
                  <a:lnTo>
                    <a:pt x="1297" y="38"/>
                  </a:lnTo>
                  <a:lnTo>
                    <a:pt x="1295" y="35"/>
                  </a:lnTo>
                  <a:lnTo>
                    <a:pt x="1293" y="33"/>
                  </a:lnTo>
                  <a:lnTo>
                    <a:pt x="1290" y="32"/>
                  </a:lnTo>
                  <a:lnTo>
                    <a:pt x="1286" y="31"/>
                  </a:lnTo>
                  <a:lnTo>
                    <a:pt x="1283" y="31"/>
                  </a:lnTo>
                  <a:lnTo>
                    <a:pt x="1266" y="31"/>
                  </a:lnTo>
                  <a:close/>
                  <a:moveTo>
                    <a:pt x="1334" y="54"/>
                  </a:moveTo>
                  <a:lnTo>
                    <a:pt x="1334" y="83"/>
                  </a:lnTo>
                  <a:lnTo>
                    <a:pt x="1334" y="89"/>
                  </a:lnTo>
                  <a:lnTo>
                    <a:pt x="1333" y="94"/>
                  </a:lnTo>
                  <a:lnTo>
                    <a:pt x="1332" y="101"/>
                  </a:lnTo>
                  <a:lnTo>
                    <a:pt x="1331" y="106"/>
                  </a:lnTo>
                  <a:lnTo>
                    <a:pt x="1329" y="110"/>
                  </a:lnTo>
                  <a:lnTo>
                    <a:pt x="1327" y="115"/>
                  </a:lnTo>
                  <a:lnTo>
                    <a:pt x="1324" y="119"/>
                  </a:lnTo>
                  <a:lnTo>
                    <a:pt x="1321" y="123"/>
                  </a:lnTo>
                  <a:lnTo>
                    <a:pt x="1318" y="126"/>
                  </a:lnTo>
                  <a:lnTo>
                    <a:pt x="1314" y="129"/>
                  </a:lnTo>
                  <a:lnTo>
                    <a:pt x="1310" y="131"/>
                  </a:lnTo>
                  <a:lnTo>
                    <a:pt x="1305" y="133"/>
                  </a:lnTo>
                  <a:lnTo>
                    <a:pt x="1300" y="135"/>
                  </a:lnTo>
                  <a:lnTo>
                    <a:pt x="1295" y="136"/>
                  </a:lnTo>
                  <a:lnTo>
                    <a:pt x="1289" y="137"/>
                  </a:lnTo>
                  <a:lnTo>
                    <a:pt x="1283" y="137"/>
                  </a:lnTo>
                  <a:lnTo>
                    <a:pt x="1266" y="137"/>
                  </a:lnTo>
                  <a:lnTo>
                    <a:pt x="1266" y="219"/>
                  </a:lnTo>
                  <a:lnTo>
                    <a:pt x="1232" y="219"/>
                  </a:lnTo>
                  <a:lnTo>
                    <a:pt x="1232" y="0"/>
                  </a:lnTo>
                  <a:lnTo>
                    <a:pt x="1283" y="0"/>
                  </a:lnTo>
                  <a:lnTo>
                    <a:pt x="1289" y="0"/>
                  </a:lnTo>
                  <a:lnTo>
                    <a:pt x="1295" y="0"/>
                  </a:lnTo>
                  <a:lnTo>
                    <a:pt x="1300" y="1"/>
                  </a:lnTo>
                  <a:lnTo>
                    <a:pt x="1305" y="3"/>
                  </a:lnTo>
                  <a:lnTo>
                    <a:pt x="1310" y="6"/>
                  </a:lnTo>
                  <a:lnTo>
                    <a:pt x="1314" y="8"/>
                  </a:lnTo>
                  <a:lnTo>
                    <a:pt x="1318" y="11"/>
                  </a:lnTo>
                  <a:lnTo>
                    <a:pt x="1321" y="14"/>
                  </a:lnTo>
                  <a:lnTo>
                    <a:pt x="1324" y="17"/>
                  </a:lnTo>
                  <a:lnTo>
                    <a:pt x="1327" y="21"/>
                  </a:lnTo>
                  <a:lnTo>
                    <a:pt x="1329" y="26"/>
                  </a:lnTo>
                  <a:lnTo>
                    <a:pt x="1331" y="31"/>
                  </a:lnTo>
                  <a:lnTo>
                    <a:pt x="1332" y="36"/>
                  </a:lnTo>
                  <a:lnTo>
                    <a:pt x="1333" y="41"/>
                  </a:lnTo>
                  <a:lnTo>
                    <a:pt x="1334" y="48"/>
                  </a:lnTo>
                  <a:lnTo>
                    <a:pt x="1334" y="54"/>
                  </a:lnTo>
                  <a:close/>
                  <a:moveTo>
                    <a:pt x="1132" y="0"/>
                  </a:moveTo>
                  <a:lnTo>
                    <a:pt x="1132" y="169"/>
                  </a:lnTo>
                  <a:lnTo>
                    <a:pt x="1133" y="175"/>
                  </a:lnTo>
                  <a:lnTo>
                    <a:pt x="1134" y="179"/>
                  </a:lnTo>
                  <a:lnTo>
                    <a:pt x="1134" y="181"/>
                  </a:lnTo>
                  <a:lnTo>
                    <a:pt x="1135" y="182"/>
                  </a:lnTo>
                  <a:lnTo>
                    <a:pt x="1137" y="185"/>
                  </a:lnTo>
                  <a:lnTo>
                    <a:pt x="1139" y="187"/>
                  </a:lnTo>
                  <a:lnTo>
                    <a:pt x="1143" y="190"/>
                  </a:lnTo>
                  <a:lnTo>
                    <a:pt x="1147" y="190"/>
                  </a:lnTo>
                  <a:lnTo>
                    <a:pt x="1150" y="191"/>
                  </a:lnTo>
                  <a:lnTo>
                    <a:pt x="1154" y="190"/>
                  </a:lnTo>
                  <a:lnTo>
                    <a:pt x="1157" y="190"/>
                  </a:lnTo>
                  <a:lnTo>
                    <a:pt x="1161" y="187"/>
                  </a:lnTo>
                  <a:lnTo>
                    <a:pt x="1164" y="185"/>
                  </a:lnTo>
                  <a:lnTo>
                    <a:pt x="1166" y="182"/>
                  </a:lnTo>
                  <a:lnTo>
                    <a:pt x="1167" y="179"/>
                  </a:lnTo>
                  <a:lnTo>
                    <a:pt x="1168" y="175"/>
                  </a:lnTo>
                  <a:lnTo>
                    <a:pt x="1168" y="169"/>
                  </a:lnTo>
                  <a:lnTo>
                    <a:pt x="1168" y="0"/>
                  </a:lnTo>
                  <a:lnTo>
                    <a:pt x="1201" y="0"/>
                  </a:lnTo>
                  <a:lnTo>
                    <a:pt x="1201" y="166"/>
                  </a:lnTo>
                  <a:lnTo>
                    <a:pt x="1201" y="173"/>
                  </a:lnTo>
                  <a:lnTo>
                    <a:pt x="1200" y="179"/>
                  </a:lnTo>
                  <a:lnTo>
                    <a:pt x="1199" y="185"/>
                  </a:lnTo>
                  <a:lnTo>
                    <a:pt x="1198" y="191"/>
                  </a:lnTo>
                  <a:lnTo>
                    <a:pt x="1195" y="195"/>
                  </a:lnTo>
                  <a:lnTo>
                    <a:pt x="1193" y="200"/>
                  </a:lnTo>
                  <a:lnTo>
                    <a:pt x="1191" y="203"/>
                  </a:lnTo>
                  <a:lnTo>
                    <a:pt x="1188" y="208"/>
                  </a:lnTo>
                  <a:lnTo>
                    <a:pt x="1184" y="211"/>
                  </a:lnTo>
                  <a:lnTo>
                    <a:pt x="1181" y="214"/>
                  </a:lnTo>
                  <a:lnTo>
                    <a:pt x="1179" y="215"/>
                  </a:lnTo>
                  <a:lnTo>
                    <a:pt x="1176" y="216"/>
                  </a:lnTo>
                  <a:lnTo>
                    <a:pt x="1171" y="218"/>
                  </a:lnTo>
                  <a:lnTo>
                    <a:pt x="1167" y="220"/>
                  </a:lnTo>
                  <a:lnTo>
                    <a:pt x="1162" y="221"/>
                  </a:lnTo>
                  <a:lnTo>
                    <a:pt x="1155" y="221"/>
                  </a:lnTo>
                  <a:lnTo>
                    <a:pt x="1149" y="222"/>
                  </a:lnTo>
                  <a:lnTo>
                    <a:pt x="1144" y="221"/>
                  </a:lnTo>
                  <a:lnTo>
                    <a:pt x="1137" y="221"/>
                  </a:lnTo>
                  <a:lnTo>
                    <a:pt x="1132" y="220"/>
                  </a:lnTo>
                  <a:lnTo>
                    <a:pt x="1127" y="218"/>
                  </a:lnTo>
                  <a:lnTo>
                    <a:pt x="1122" y="216"/>
                  </a:lnTo>
                  <a:lnTo>
                    <a:pt x="1118" y="214"/>
                  </a:lnTo>
                  <a:lnTo>
                    <a:pt x="1114" y="211"/>
                  </a:lnTo>
                  <a:lnTo>
                    <a:pt x="1111" y="208"/>
                  </a:lnTo>
                  <a:lnTo>
                    <a:pt x="1108" y="203"/>
                  </a:lnTo>
                  <a:lnTo>
                    <a:pt x="1106" y="200"/>
                  </a:lnTo>
                  <a:lnTo>
                    <a:pt x="1103" y="195"/>
                  </a:lnTo>
                  <a:lnTo>
                    <a:pt x="1101" y="191"/>
                  </a:lnTo>
                  <a:lnTo>
                    <a:pt x="1100" y="185"/>
                  </a:lnTo>
                  <a:lnTo>
                    <a:pt x="1099" y="179"/>
                  </a:lnTo>
                  <a:lnTo>
                    <a:pt x="1098" y="173"/>
                  </a:lnTo>
                  <a:lnTo>
                    <a:pt x="1098" y="166"/>
                  </a:lnTo>
                  <a:lnTo>
                    <a:pt x="1098" y="0"/>
                  </a:lnTo>
                  <a:lnTo>
                    <a:pt x="1132" y="0"/>
                  </a:lnTo>
                  <a:close/>
                  <a:moveTo>
                    <a:pt x="997" y="149"/>
                  </a:moveTo>
                  <a:lnTo>
                    <a:pt x="1030" y="149"/>
                  </a:lnTo>
                  <a:lnTo>
                    <a:pt x="1014" y="38"/>
                  </a:lnTo>
                  <a:lnTo>
                    <a:pt x="997" y="149"/>
                  </a:lnTo>
                  <a:close/>
                  <a:moveTo>
                    <a:pt x="1076" y="219"/>
                  </a:moveTo>
                  <a:lnTo>
                    <a:pt x="1041" y="219"/>
                  </a:lnTo>
                  <a:lnTo>
                    <a:pt x="1035" y="179"/>
                  </a:lnTo>
                  <a:lnTo>
                    <a:pt x="992" y="179"/>
                  </a:lnTo>
                  <a:lnTo>
                    <a:pt x="987" y="219"/>
                  </a:lnTo>
                  <a:lnTo>
                    <a:pt x="955" y="219"/>
                  </a:lnTo>
                  <a:lnTo>
                    <a:pt x="990" y="0"/>
                  </a:lnTo>
                  <a:lnTo>
                    <a:pt x="1041" y="0"/>
                  </a:lnTo>
                  <a:lnTo>
                    <a:pt x="1076" y="219"/>
                  </a:lnTo>
                  <a:close/>
                  <a:moveTo>
                    <a:pt x="872" y="131"/>
                  </a:moveTo>
                  <a:lnTo>
                    <a:pt x="861" y="151"/>
                  </a:lnTo>
                  <a:lnTo>
                    <a:pt x="861" y="219"/>
                  </a:lnTo>
                  <a:lnTo>
                    <a:pt x="826" y="219"/>
                  </a:lnTo>
                  <a:lnTo>
                    <a:pt x="826" y="0"/>
                  </a:lnTo>
                  <a:lnTo>
                    <a:pt x="861" y="0"/>
                  </a:lnTo>
                  <a:lnTo>
                    <a:pt x="861" y="95"/>
                  </a:lnTo>
                  <a:lnTo>
                    <a:pt x="907" y="0"/>
                  </a:lnTo>
                  <a:lnTo>
                    <a:pt x="941" y="0"/>
                  </a:lnTo>
                  <a:lnTo>
                    <a:pt x="893" y="98"/>
                  </a:lnTo>
                  <a:lnTo>
                    <a:pt x="941" y="219"/>
                  </a:lnTo>
                  <a:lnTo>
                    <a:pt x="906" y="219"/>
                  </a:lnTo>
                  <a:lnTo>
                    <a:pt x="872" y="131"/>
                  </a:lnTo>
                  <a:close/>
                  <a:moveTo>
                    <a:pt x="697" y="0"/>
                  </a:moveTo>
                  <a:lnTo>
                    <a:pt x="804" y="0"/>
                  </a:lnTo>
                  <a:lnTo>
                    <a:pt x="804" y="31"/>
                  </a:lnTo>
                  <a:lnTo>
                    <a:pt x="768" y="31"/>
                  </a:lnTo>
                  <a:lnTo>
                    <a:pt x="768" y="219"/>
                  </a:lnTo>
                  <a:lnTo>
                    <a:pt x="733" y="219"/>
                  </a:lnTo>
                  <a:lnTo>
                    <a:pt x="733" y="31"/>
                  </a:lnTo>
                  <a:lnTo>
                    <a:pt x="697" y="31"/>
                  </a:lnTo>
                  <a:lnTo>
                    <a:pt x="697" y="0"/>
                  </a:lnTo>
                  <a:close/>
                  <a:moveTo>
                    <a:pt x="619" y="92"/>
                  </a:moveTo>
                  <a:lnTo>
                    <a:pt x="666" y="92"/>
                  </a:lnTo>
                  <a:lnTo>
                    <a:pt x="666" y="124"/>
                  </a:lnTo>
                  <a:lnTo>
                    <a:pt x="619" y="124"/>
                  </a:lnTo>
                  <a:lnTo>
                    <a:pt x="619" y="187"/>
                  </a:lnTo>
                  <a:lnTo>
                    <a:pt x="678" y="187"/>
                  </a:lnTo>
                  <a:lnTo>
                    <a:pt x="678" y="219"/>
                  </a:lnTo>
                  <a:lnTo>
                    <a:pt x="584" y="219"/>
                  </a:lnTo>
                  <a:lnTo>
                    <a:pt x="584" y="0"/>
                  </a:lnTo>
                  <a:lnTo>
                    <a:pt x="678" y="0"/>
                  </a:lnTo>
                  <a:lnTo>
                    <a:pt x="678" y="31"/>
                  </a:lnTo>
                  <a:lnTo>
                    <a:pt x="619" y="31"/>
                  </a:lnTo>
                  <a:lnTo>
                    <a:pt x="619" y="92"/>
                  </a:lnTo>
                  <a:close/>
                  <a:moveTo>
                    <a:pt x="492" y="131"/>
                  </a:moveTo>
                  <a:lnTo>
                    <a:pt x="482" y="151"/>
                  </a:lnTo>
                  <a:lnTo>
                    <a:pt x="482" y="219"/>
                  </a:lnTo>
                  <a:lnTo>
                    <a:pt x="447" y="219"/>
                  </a:lnTo>
                  <a:lnTo>
                    <a:pt x="447" y="0"/>
                  </a:lnTo>
                  <a:lnTo>
                    <a:pt x="482" y="0"/>
                  </a:lnTo>
                  <a:lnTo>
                    <a:pt x="482" y="95"/>
                  </a:lnTo>
                  <a:lnTo>
                    <a:pt x="526" y="0"/>
                  </a:lnTo>
                  <a:lnTo>
                    <a:pt x="561" y="0"/>
                  </a:lnTo>
                  <a:lnTo>
                    <a:pt x="513" y="98"/>
                  </a:lnTo>
                  <a:lnTo>
                    <a:pt x="561" y="219"/>
                  </a:lnTo>
                  <a:lnTo>
                    <a:pt x="525" y="219"/>
                  </a:lnTo>
                  <a:lnTo>
                    <a:pt x="492" y="131"/>
                  </a:lnTo>
                  <a:close/>
                  <a:moveTo>
                    <a:pt x="347" y="31"/>
                  </a:moveTo>
                  <a:lnTo>
                    <a:pt x="347" y="99"/>
                  </a:lnTo>
                  <a:lnTo>
                    <a:pt x="361" y="99"/>
                  </a:lnTo>
                  <a:lnTo>
                    <a:pt x="365" y="99"/>
                  </a:lnTo>
                  <a:lnTo>
                    <a:pt x="370" y="98"/>
                  </a:lnTo>
                  <a:lnTo>
                    <a:pt x="373" y="95"/>
                  </a:lnTo>
                  <a:lnTo>
                    <a:pt x="375" y="94"/>
                  </a:lnTo>
                  <a:lnTo>
                    <a:pt x="376" y="93"/>
                  </a:lnTo>
                  <a:lnTo>
                    <a:pt x="378" y="90"/>
                  </a:lnTo>
                  <a:lnTo>
                    <a:pt x="380" y="86"/>
                  </a:lnTo>
                  <a:lnTo>
                    <a:pt x="381" y="82"/>
                  </a:lnTo>
                  <a:lnTo>
                    <a:pt x="381" y="75"/>
                  </a:lnTo>
                  <a:lnTo>
                    <a:pt x="381" y="53"/>
                  </a:lnTo>
                  <a:lnTo>
                    <a:pt x="381" y="48"/>
                  </a:lnTo>
                  <a:lnTo>
                    <a:pt x="381" y="44"/>
                  </a:lnTo>
                  <a:lnTo>
                    <a:pt x="379" y="39"/>
                  </a:lnTo>
                  <a:lnTo>
                    <a:pt x="378" y="36"/>
                  </a:lnTo>
                  <a:lnTo>
                    <a:pt x="375" y="34"/>
                  </a:lnTo>
                  <a:lnTo>
                    <a:pt x="374" y="33"/>
                  </a:lnTo>
                  <a:lnTo>
                    <a:pt x="372" y="32"/>
                  </a:lnTo>
                  <a:lnTo>
                    <a:pt x="368" y="31"/>
                  </a:lnTo>
                  <a:lnTo>
                    <a:pt x="364" y="31"/>
                  </a:lnTo>
                  <a:lnTo>
                    <a:pt x="347" y="31"/>
                  </a:lnTo>
                  <a:close/>
                  <a:moveTo>
                    <a:pt x="385" y="219"/>
                  </a:moveTo>
                  <a:lnTo>
                    <a:pt x="384" y="215"/>
                  </a:lnTo>
                  <a:lnTo>
                    <a:pt x="383" y="211"/>
                  </a:lnTo>
                  <a:lnTo>
                    <a:pt x="382" y="203"/>
                  </a:lnTo>
                  <a:lnTo>
                    <a:pt x="382" y="192"/>
                  </a:lnTo>
                  <a:lnTo>
                    <a:pt x="382" y="158"/>
                  </a:lnTo>
                  <a:lnTo>
                    <a:pt x="381" y="150"/>
                  </a:lnTo>
                  <a:lnTo>
                    <a:pt x="381" y="145"/>
                  </a:lnTo>
                  <a:lnTo>
                    <a:pt x="379" y="140"/>
                  </a:lnTo>
                  <a:lnTo>
                    <a:pt x="377" y="136"/>
                  </a:lnTo>
                  <a:lnTo>
                    <a:pt x="375" y="135"/>
                  </a:lnTo>
                  <a:lnTo>
                    <a:pt x="374" y="133"/>
                  </a:lnTo>
                  <a:lnTo>
                    <a:pt x="370" y="131"/>
                  </a:lnTo>
                  <a:lnTo>
                    <a:pt x="365" y="130"/>
                  </a:lnTo>
                  <a:lnTo>
                    <a:pt x="359" y="129"/>
                  </a:lnTo>
                  <a:lnTo>
                    <a:pt x="347" y="129"/>
                  </a:lnTo>
                  <a:lnTo>
                    <a:pt x="347" y="219"/>
                  </a:lnTo>
                  <a:lnTo>
                    <a:pt x="313" y="219"/>
                  </a:lnTo>
                  <a:lnTo>
                    <a:pt x="313" y="0"/>
                  </a:lnTo>
                  <a:lnTo>
                    <a:pt x="365" y="0"/>
                  </a:lnTo>
                  <a:lnTo>
                    <a:pt x="372" y="0"/>
                  </a:lnTo>
                  <a:lnTo>
                    <a:pt x="378" y="0"/>
                  </a:lnTo>
                  <a:lnTo>
                    <a:pt x="383" y="1"/>
                  </a:lnTo>
                  <a:lnTo>
                    <a:pt x="389" y="2"/>
                  </a:lnTo>
                  <a:lnTo>
                    <a:pt x="393" y="4"/>
                  </a:lnTo>
                  <a:lnTo>
                    <a:pt x="397" y="7"/>
                  </a:lnTo>
                  <a:lnTo>
                    <a:pt x="400" y="10"/>
                  </a:lnTo>
                  <a:lnTo>
                    <a:pt x="404" y="12"/>
                  </a:lnTo>
                  <a:lnTo>
                    <a:pt x="407" y="16"/>
                  </a:lnTo>
                  <a:lnTo>
                    <a:pt x="410" y="19"/>
                  </a:lnTo>
                  <a:lnTo>
                    <a:pt x="412" y="23"/>
                  </a:lnTo>
                  <a:lnTo>
                    <a:pt x="413" y="28"/>
                  </a:lnTo>
                  <a:lnTo>
                    <a:pt x="414" y="33"/>
                  </a:lnTo>
                  <a:lnTo>
                    <a:pt x="415" y="38"/>
                  </a:lnTo>
                  <a:lnTo>
                    <a:pt x="416" y="44"/>
                  </a:lnTo>
                  <a:lnTo>
                    <a:pt x="416" y="50"/>
                  </a:lnTo>
                  <a:lnTo>
                    <a:pt x="416" y="68"/>
                  </a:lnTo>
                  <a:lnTo>
                    <a:pt x="416" y="75"/>
                  </a:lnTo>
                  <a:lnTo>
                    <a:pt x="415" y="83"/>
                  </a:lnTo>
                  <a:lnTo>
                    <a:pt x="413" y="89"/>
                  </a:lnTo>
                  <a:lnTo>
                    <a:pt x="411" y="95"/>
                  </a:lnTo>
                  <a:lnTo>
                    <a:pt x="409" y="99"/>
                  </a:lnTo>
                  <a:lnTo>
                    <a:pt x="408" y="101"/>
                  </a:lnTo>
                  <a:lnTo>
                    <a:pt x="405" y="103"/>
                  </a:lnTo>
                  <a:lnTo>
                    <a:pt x="403" y="105"/>
                  </a:lnTo>
                  <a:lnTo>
                    <a:pt x="399" y="109"/>
                  </a:lnTo>
                  <a:lnTo>
                    <a:pt x="394" y="112"/>
                  </a:lnTo>
                  <a:lnTo>
                    <a:pt x="397" y="113"/>
                  </a:lnTo>
                  <a:lnTo>
                    <a:pt x="399" y="115"/>
                  </a:lnTo>
                  <a:lnTo>
                    <a:pt x="402" y="117"/>
                  </a:lnTo>
                  <a:lnTo>
                    <a:pt x="404" y="119"/>
                  </a:lnTo>
                  <a:lnTo>
                    <a:pt x="409" y="124"/>
                  </a:lnTo>
                  <a:lnTo>
                    <a:pt x="412" y="129"/>
                  </a:lnTo>
                  <a:lnTo>
                    <a:pt x="414" y="136"/>
                  </a:lnTo>
                  <a:lnTo>
                    <a:pt x="415" y="143"/>
                  </a:lnTo>
                  <a:lnTo>
                    <a:pt x="416" y="146"/>
                  </a:lnTo>
                  <a:lnTo>
                    <a:pt x="416" y="150"/>
                  </a:lnTo>
                  <a:lnTo>
                    <a:pt x="416" y="159"/>
                  </a:lnTo>
                  <a:lnTo>
                    <a:pt x="416" y="193"/>
                  </a:lnTo>
                  <a:lnTo>
                    <a:pt x="416" y="200"/>
                  </a:lnTo>
                  <a:lnTo>
                    <a:pt x="417" y="206"/>
                  </a:lnTo>
                  <a:lnTo>
                    <a:pt x="418" y="213"/>
                  </a:lnTo>
                  <a:lnTo>
                    <a:pt x="419" y="216"/>
                  </a:lnTo>
                  <a:lnTo>
                    <a:pt x="420" y="219"/>
                  </a:lnTo>
                  <a:lnTo>
                    <a:pt x="385" y="219"/>
                  </a:lnTo>
                  <a:close/>
                  <a:moveTo>
                    <a:pt x="211" y="149"/>
                  </a:moveTo>
                  <a:lnTo>
                    <a:pt x="244" y="149"/>
                  </a:lnTo>
                  <a:lnTo>
                    <a:pt x="227" y="38"/>
                  </a:lnTo>
                  <a:lnTo>
                    <a:pt x="211" y="149"/>
                  </a:lnTo>
                  <a:close/>
                  <a:moveTo>
                    <a:pt x="289" y="219"/>
                  </a:moveTo>
                  <a:lnTo>
                    <a:pt x="254" y="219"/>
                  </a:lnTo>
                  <a:lnTo>
                    <a:pt x="249" y="179"/>
                  </a:lnTo>
                  <a:lnTo>
                    <a:pt x="207" y="179"/>
                  </a:lnTo>
                  <a:lnTo>
                    <a:pt x="200" y="219"/>
                  </a:lnTo>
                  <a:lnTo>
                    <a:pt x="169" y="219"/>
                  </a:lnTo>
                  <a:lnTo>
                    <a:pt x="203" y="0"/>
                  </a:lnTo>
                  <a:lnTo>
                    <a:pt x="254" y="0"/>
                  </a:lnTo>
                  <a:lnTo>
                    <a:pt x="289" y="219"/>
                  </a:lnTo>
                  <a:close/>
                  <a:moveTo>
                    <a:pt x="73" y="156"/>
                  </a:moveTo>
                  <a:lnTo>
                    <a:pt x="97" y="0"/>
                  </a:lnTo>
                  <a:lnTo>
                    <a:pt x="145" y="0"/>
                  </a:lnTo>
                  <a:lnTo>
                    <a:pt x="145" y="219"/>
                  </a:lnTo>
                  <a:lnTo>
                    <a:pt x="113" y="219"/>
                  </a:lnTo>
                  <a:lnTo>
                    <a:pt x="113" y="62"/>
                  </a:lnTo>
                  <a:lnTo>
                    <a:pt x="88" y="219"/>
                  </a:lnTo>
                  <a:lnTo>
                    <a:pt x="55" y="219"/>
                  </a:lnTo>
                  <a:lnTo>
                    <a:pt x="30" y="64"/>
                  </a:lnTo>
                  <a:lnTo>
                    <a:pt x="30" y="219"/>
                  </a:lnTo>
                  <a:lnTo>
                    <a:pt x="0" y="219"/>
                  </a:lnTo>
                  <a:lnTo>
                    <a:pt x="0" y="0"/>
                  </a:lnTo>
                  <a:lnTo>
                    <a:pt x="48" y="0"/>
                  </a:lnTo>
                  <a:lnTo>
                    <a:pt x="73" y="1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82393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958" r:id="rId20"/>
    <p:sldLayoutId id="2147483837" r:id="rId21"/>
    <p:sldLayoutId id="2147483838" r:id="rId22"/>
    <p:sldLayoutId id="2147483839" r:id="rId23"/>
    <p:sldLayoutId id="2147483840" r:id="rId24"/>
    <p:sldLayoutId id="2147483841" r:id="rId25"/>
    <p:sldLayoutId id="2147483842" r:id="rId26"/>
    <p:sldLayoutId id="2147483843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6A08A664-4B79-4697-AAC4-720FA6407C62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2" name="Freeform 28"/>
            <p:cNvSpPr>
              <a:spLocks noEditPoints="1"/>
            </p:cNvSpPr>
            <p:nvPr userDrawn="1"/>
          </p:nvSpPr>
          <p:spPr bwMode="auto">
            <a:xfrm>
              <a:off x="9180914" y="6472295"/>
              <a:ext cx="1318115" cy="247029"/>
            </a:xfrm>
            <a:custGeom>
              <a:avLst/>
              <a:gdLst>
                <a:gd name="T0" fmla="*/ 1324 w 1397"/>
                <a:gd name="T1" fmla="*/ 49 h 263"/>
                <a:gd name="T2" fmla="*/ 1356 w 1397"/>
                <a:gd name="T3" fmla="*/ 260 h 263"/>
                <a:gd name="T4" fmla="*/ 1293 w 1397"/>
                <a:gd name="T5" fmla="*/ 260 h 263"/>
                <a:gd name="T6" fmla="*/ 1355 w 1397"/>
                <a:gd name="T7" fmla="*/ 4 h 263"/>
                <a:gd name="T8" fmla="*/ 1172 w 1397"/>
                <a:gd name="T9" fmla="*/ 4 h 263"/>
                <a:gd name="T10" fmla="*/ 1190 w 1397"/>
                <a:gd name="T11" fmla="*/ 260 h 263"/>
                <a:gd name="T12" fmla="*/ 1124 w 1397"/>
                <a:gd name="T13" fmla="*/ 260 h 263"/>
                <a:gd name="T14" fmla="*/ 1059 w 1397"/>
                <a:gd name="T15" fmla="*/ 260 h 263"/>
                <a:gd name="T16" fmla="*/ 1145 w 1397"/>
                <a:gd name="T17" fmla="*/ 186 h 263"/>
                <a:gd name="T18" fmla="*/ 1021 w 1397"/>
                <a:gd name="T19" fmla="*/ 260 h 263"/>
                <a:gd name="T20" fmla="*/ 865 w 1397"/>
                <a:gd name="T21" fmla="*/ 200 h 263"/>
                <a:gd name="T22" fmla="*/ 876 w 1397"/>
                <a:gd name="T23" fmla="*/ 225 h 263"/>
                <a:gd name="T24" fmla="*/ 901 w 1397"/>
                <a:gd name="T25" fmla="*/ 219 h 263"/>
                <a:gd name="T26" fmla="*/ 906 w 1397"/>
                <a:gd name="T27" fmla="*/ 62 h 263"/>
                <a:gd name="T28" fmla="*/ 893 w 1397"/>
                <a:gd name="T29" fmla="*/ 39 h 263"/>
                <a:gd name="T30" fmla="*/ 870 w 1397"/>
                <a:gd name="T31" fmla="*/ 43 h 263"/>
                <a:gd name="T32" fmla="*/ 865 w 1397"/>
                <a:gd name="T33" fmla="*/ 200 h 263"/>
                <a:gd name="T34" fmla="*/ 828 w 1397"/>
                <a:gd name="T35" fmla="*/ 37 h 263"/>
                <a:gd name="T36" fmla="*/ 849 w 1397"/>
                <a:gd name="T37" fmla="*/ 10 h 263"/>
                <a:gd name="T38" fmla="*/ 885 w 1397"/>
                <a:gd name="T39" fmla="*/ 0 h 263"/>
                <a:gd name="T40" fmla="*/ 922 w 1397"/>
                <a:gd name="T41" fmla="*/ 10 h 263"/>
                <a:gd name="T42" fmla="*/ 936 w 1397"/>
                <a:gd name="T43" fmla="*/ 27 h 263"/>
                <a:gd name="T44" fmla="*/ 946 w 1397"/>
                <a:gd name="T45" fmla="*/ 65 h 263"/>
                <a:gd name="T46" fmla="*/ 942 w 1397"/>
                <a:gd name="T47" fmla="*/ 225 h 263"/>
                <a:gd name="T48" fmla="*/ 922 w 1397"/>
                <a:gd name="T49" fmla="*/ 252 h 263"/>
                <a:gd name="T50" fmla="*/ 885 w 1397"/>
                <a:gd name="T51" fmla="*/ 262 h 263"/>
                <a:gd name="T52" fmla="*/ 849 w 1397"/>
                <a:gd name="T53" fmla="*/ 252 h 263"/>
                <a:gd name="T54" fmla="*/ 833 w 1397"/>
                <a:gd name="T55" fmla="*/ 236 h 263"/>
                <a:gd name="T56" fmla="*/ 824 w 1397"/>
                <a:gd name="T57" fmla="*/ 198 h 263"/>
                <a:gd name="T58" fmla="*/ 763 w 1397"/>
                <a:gd name="T59" fmla="*/ 4 h 263"/>
                <a:gd name="T60" fmla="*/ 701 w 1397"/>
                <a:gd name="T61" fmla="*/ 260 h 263"/>
                <a:gd name="T62" fmla="*/ 732 w 1397"/>
                <a:gd name="T63" fmla="*/ 212 h 263"/>
                <a:gd name="T64" fmla="*/ 633 w 1397"/>
                <a:gd name="T65" fmla="*/ 260 h 263"/>
                <a:gd name="T66" fmla="*/ 460 w 1397"/>
                <a:gd name="T67" fmla="*/ 4 h 263"/>
                <a:gd name="T68" fmla="*/ 566 w 1397"/>
                <a:gd name="T69" fmla="*/ 223 h 263"/>
                <a:gd name="T70" fmla="*/ 460 w 1397"/>
                <a:gd name="T71" fmla="*/ 4 h 263"/>
                <a:gd name="T72" fmla="*/ 345 w 1397"/>
                <a:gd name="T73" fmla="*/ 212 h 263"/>
                <a:gd name="T74" fmla="*/ 364 w 1397"/>
                <a:gd name="T75" fmla="*/ 226 h 263"/>
                <a:gd name="T76" fmla="*/ 384 w 1397"/>
                <a:gd name="T77" fmla="*/ 212 h 263"/>
                <a:gd name="T78" fmla="*/ 424 w 1397"/>
                <a:gd name="T79" fmla="*/ 4 h 263"/>
                <a:gd name="T80" fmla="*/ 419 w 1397"/>
                <a:gd name="T81" fmla="*/ 226 h 263"/>
                <a:gd name="T82" fmla="*/ 399 w 1397"/>
                <a:gd name="T83" fmla="*/ 253 h 263"/>
                <a:gd name="T84" fmla="*/ 363 w 1397"/>
                <a:gd name="T85" fmla="*/ 263 h 263"/>
                <a:gd name="T86" fmla="*/ 327 w 1397"/>
                <a:gd name="T87" fmla="*/ 253 h 263"/>
                <a:gd name="T88" fmla="*/ 307 w 1397"/>
                <a:gd name="T89" fmla="*/ 226 h 263"/>
                <a:gd name="T90" fmla="*/ 304 w 1397"/>
                <a:gd name="T91" fmla="*/ 4 h 263"/>
                <a:gd name="T92" fmla="*/ 189 w 1397"/>
                <a:gd name="T93" fmla="*/ 200 h 263"/>
                <a:gd name="T94" fmla="*/ 201 w 1397"/>
                <a:gd name="T95" fmla="*/ 225 h 263"/>
                <a:gd name="T96" fmla="*/ 225 w 1397"/>
                <a:gd name="T97" fmla="*/ 220 h 263"/>
                <a:gd name="T98" fmla="*/ 231 w 1397"/>
                <a:gd name="T99" fmla="*/ 4 h 263"/>
                <a:gd name="T100" fmla="*/ 268 w 1397"/>
                <a:gd name="T101" fmla="*/ 213 h 263"/>
                <a:gd name="T102" fmla="*/ 253 w 1397"/>
                <a:gd name="T103" fmla="*/ 246 h 263"/>
                <a:gd name="T104" fmla="*/ 223 w 1397"/>
                <a:gd name="T105" fmla="*/ 262 h 263"/>
                <a:gd name="T106" fmla="*/ 182 w 1397"/>
                <a:gd name="T107" fmla="*/ 259 h 263"/>
                <a:gd name="T108" fmla="*/ 157 w 1397"/>
                <a:gd name="T109" fmla="*/ 236 h 263"/>
                <a:gd name="T110" fmla="*/ 149 w 1397"/>
                <a:gd name="T111" fmla="*/ 198 h 263"/>
                <a:gd name="T112" fmla="*/ 0 w 1397"/>
                <a:gd name="T113" fmla="*/ 4 h 263"/>
                <a:gd name="T114" fmla="*/ 82 w 1397"/>
                <a:gd name="T115" fmla="*/ 40 h 263"/>
                <a:gd name="T116" fmla="*/ 42 w 1397"/>
                <a:gd name="T117" fmla="*/ 4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7" h="263">
                  <a:moveTo>
                    <a:pt x="1305" y="178"/>
                  </a:moveTo>
                  <a:lnTo>
                    <a:pt x="1344" y="178"/>
                  </a:lnTo>
                  <a:lnTo>
                    <a:pt x="1324" y="49"/>
                  </a:lnTo>
                  <a:lnTo>
                    <a:pt x="1305" y="178"/>
                  </a:lnTo>
                  <a:close/>
                  <a:moveTo>
                    <a:pt x="1397" y="260"/>
                  </a:moveTo>
                  <a:lnTo>
                    <a:pt x="1356" y="260"/>
                  </a:lnTo>
                  <a:lnTo>
                    <a:pt x="1349" y="213"/>
                  </a:lnTo>
                  <a:lnTo>
                    <a:pt x="1299" y="213"/>
                  </a:lnTo>
                  <a:lnTo>
                    <a:pt x="1293" y="260"/>
                  </a:lnTo>
                  <a:lnTo>
                    <a:pt x="1256" y="260"/>
                  </a:lnTo>
                  <a:lnTo>
                    <a:pt x="1297" y="4"/>
                  </a:lnTo>
                  <a:lnTo>
                    <a:pt x="1355" y="4"/>
                  </a:lnTo>
                  <a:lnTo>
                    <a:pt x="1397" y="260"/>
                  </a:lnTo>
                  <a:close/>
                  <a:moveTo>
                    <a:pt x="1145" y="186"/>
                  </a:moveTo>
                  <a:lnTo>
                    <a:pt x="1172" y="4"/>
                  </a:lnTo>
                  <a:lnTo>
                    <a:pt x="1228" y="4"/>
                  </a:lnTo>
                  <a:lnTo>
                    <a:pt x="1228" y="260"/>
                  </a:lnTo>
                  <a:lnTo>
                    <a:pt x="1190" y="260"/>
                  </a:lnTo>
                  <a:lnTo>
                    <a:pt x="1190" y="76"/>
                  </a:lnTo>
                  <a:lnTo>
                    <a:pt x="1162" y="260"/>
                  </a:lnTo>
                  <a:lnTo>
                    <a:pt x="1124" y="260"/>
                  </a:lnTo>
                  <a:lnTo>
                    <a:pt x="1094" y="79"/>
                  </a:lnTo>
                  <a:lnTo>
                    <a:pt x="1094" y="260"/>
                  </a:lnTo>
                  <a:lnTo>
                    <a:pt x="1059" y="260"/>
                  </a:lnTo>
                  <a:lnTo>
                    <a:pt x="1059" y="4"/>
                  </a:lnTo>
                  <a:lnTo>
                    <a:pt x="1115" y="4"/>
                  </a:lnTo>
                  <a:lnTo>
                    <a:pt x="1145" y="186"/>
                  </a:lnTo>
                  <a:close/>
                  <a:moveTo>
                    <a:pt x="981" y="4"/>
                  </a:moveTo>
                  <a:lnTo>
                    <a:pt x="1021" y="4"/>
                  </a:lnTo>
                  <a:lnTo>
                    <a:pt x="1021" y="260"/>
                  </a:lnTo>
                  <a:lnTo>
                    <a:pt x="981" y="260"/>
                  </a:lnTo>
                  <a:lnTo>
                    <a:pt x="981" y="4"/>
                  </a:lnTo>
                  <a:close/>
                  <a:moveTo>
                    <a:pt x="865" y="200"/>
                  </a:moveTo>
                  <a:lnTo>
                    <a:pt x="866" y="212"/>
                  </a:lnTo>
                  <a:lnTo>
                    <a:pt x="870" y="219"/>
                  </a:lnTo>
                  <a:lnTo>
                    <a:pt x="876" y="225"/>
                  </a:lnTo>
                  <a:lnTo>
                    <a:pt x="885" y="226"/>
                  </a:lnTo>
                  <a:lnTo>
                    <a:pt x="893" y="225"/>
                  </a:lnTo>
                  <a:lnTo>
                    <a:pt x="901" y="219"/>
                  </a:lnTo>
                  <a:lnTo>
                    <a:pt x="905" y="212"/>
                  </a:lnTo>
                  <a:lnTo>
                    <a:pt x="906" y="200"/>
                  </a:lnTo>
                  <a:lnTo>
                    <a:pt x="906" y="62"/>
                  </a:lnTo>
                  <a:lnTo>
                    <a:pt x="905" y="50"/>
                  </a:lnTo>
                  <a:lnTo>
                    <a:pt x="901" y="43"/>
                  </a:lnTo>
                  <a:lnTo>
                    <a:pt x="893" y="39"/>
                  </a:lnTo>
                  <a:lnTo>
                    <a:pt x="885" y="37"/>
                  </a:lnTo>
                  <a:lnTo>
                    <a:pt x="876" y="39"/>
                  </a:lnTo>
                  <a:lnTo>
                    <a:pt x="870" y="43"/>
                  </a:lnTo>
                  <a:lnTo>
                    <a:pt x="866" y="50"/>
                  </a:lnTo>
                  <a:lnTo>
                    <a:pt x="865" y="62"/>
                  </a:lnTo>
                  <a:lnTo>
                    <a:pt x="865" y="200"/>
                  </a:lnTo>
                  <a:close/>
                  <a:moveTo>
                    <a:pt x="824" y="65"/>
                  </a:moveTo>
                  <a:lnTo>
                    <a:pt x="824" y="50"/>
                  </a:lnTo>
                  <a:lnTo>
                    <a:pt x="828" y="37"/>
                  </a:lnTo>
                  <a:lnTo>
                    <a:pt x="833" y="27"/>
                  </a:lnTo>
                  <a:lnTo>
                    <a:pt x="839" y="17"/>
                  </a:lnTo>
                  <a:lnTo>
                    <a:pt x="849" y="10"/>
                  </a:lnTo>
                  <a:lnTo>
                    <a:pt x="858" y="5"/>
                  </a:lnTo>
                  <a:lnTo>
                    <a:pt x="871" y="2"/>
                  </a:lnTo>
                  <a:lnTo>
                    <a:pt x="885" y="0"/>
                  </a:lnTo>
                  <a:lnTo>
                    <a:pt x="898" y="2"/>
                  </a:lnTo>
                  <a:lnTo>
                    <a:pt x="911" y="5"/>
                  </a:lnTo>
                  <a:lnTo>
                    <a:pt x="922" y="10"/>
                  </a:lnTo>
                  <a:lnTo>
                    <a:pt x="930" y="17"/>
                  </a:lnTo>
                  <a:lnTo>
                    <a:pt x="933" y="22"/>
                  </a:lnTo>
                  <a:lnTo>
                    <a:pt x="936" y="27"/>
                  </a:lnTo>
                  <a:lnTo>
                    <a:pt x="942" y="37"/>
                  </a:lnTo>
                  <a:lnTo>
                    <a:pt x="945" y="50"/>
                  </a:lnTo>
                  <a:lnTo>
                    <a:pt x="946" y="65"/>
                  </a:lnTo>
                  <a:lnTo>
                    <a:pt x="946" y="198"/>
                  </a:lnTo>
                  <a:lnTo>
                    <a:pt x="945" y="212"/>
                  </a:lnTo>
                  <a:lnTo>
                    <a:pt x="942" y="225"/>
                  </a:lnTo>
                  <a:lnTo>
                    <a:pt x="936" y="236"/>
                  </a:lnTo>
                  <a:lnTo>
                    <a:pt x="930" y="246"/>
                  </a:lnTo>
                  <a:lnTo>
                    <a:pt x="922" y="252"/>
                  </a:lnTo>
                  <a:lnTo>
                    <a:pt x="911" y="257"/>
                  </a:lnTo>
                  <a:lnTo>
                    <a:pt x="898" y="261"/>
                  </a:lnTo>
                  <a:lnTo>
                    <a:pt x="885" y="262"/>
                  </a:lnTo>
                  <a:lnTo>
                    <a:pt x="871" y="261"/>
                  </a:lnTo>
                  <a:lnTo>
                    <a:pt x="858" y="257"/>
                  </a:lnTo>
                  <a:lnTo>
                    <a:pt x="849" y="252"/>
                  </a:lnTo>
                  <a:lnTo>
                    <a:pt x="839" y="246"/>
                  </a:lnTo>
                  <a:lnTo>
                    <a:pt x="836" y="241"/>
                  </a:lnTo>
                  <a:lnTo>
                    <a:pt x="833" y="236"/>
                  </a:lnTo>
                  <a:lnTo>
                    <a:pt x="828" y="225"/>
                  </a:lnTo>
                  <a:lnTo>
                    <a:pt x="824" y="212"/>
                  </a:lnTo>
                  <a:lnTo>
                    <a:pt x="824" y="198"/>
                  </a:lnTo>
                  <a:lnTo>
                    <a:pt x="824" y="65"/>
                  </a:lnTo>
                  <a:close/>
                  <a:moveTo>
                    <a:pt x="732" y="212"/>
                  </a:moveTo>
                  <a:lnTo>
                    <a:pt x="763" y="4"/>
                  </a:lnTo>
                  <a:lnTo>
                    <a:pt x="800" y="4"/>
                  </a:lnTo>
                  <a:lnTo>
                    <a:pt x="760" y="260"/>
                  </a:lnTo>
                  <a:lnTo>
                    <a:pt x="701" y="260"/>
                  </a:lnTo>
                  <a:lnTo>
                    <a:pt x="660" y="4"/>
                  </a:lnTo>
                  <a:lnTo>
                    <a:pt x="702" y="4"/>
                  </a:lnTo>
                  <a:lnTo>
                    <a:pt x="732" y="212"/>
                  </a:lnTo>
                  <a:close/>
                  <a:moveTo>
                    <a:pt x="593" y="4"/>
                  </a:moveTo>
                  <a:lnTo>
                    <a:pt x="633" y="4"/>
                  </a:lnTo>
                  <a:lnTo>
                    <a:pt x="633" y="260"/>
                  </a:lnTo>
                  <a:lnTo>
                    <a:pt x="593" y="260"/>
                  </a:lnTo>
                  <a:lnTo>
                    <a:pt x="593" y="4"/>
                  </a:lnTo>
                  <a:close/>
                  <a:moveTo>
                    <a:pt x="460" y="4"/>
                  </a:moveTo>
                  <a:lnTo>
                    <a:pt x="500" y="4"/>
                  </a:lnTo>
                  <a:lnTo>
                    <a:pt x="500" y="223"/>
                  </a:lnTo>
                  <a:lnTo>
                    <a:pt x="566" y="223"/>
                  </a:lnTo>
                  <a:lnTo>
                    <a:pt x="566" y="260"/>
                  </a:lnTo>
                  <a:lnTo>
                    <a:pt x="460" y="260"/>
                  </a:lnTo>
                  <a:lnTo>
                    <a:pt x="460" y="4"/>
                  </a:lnTo>
                  <a:close/>
                  <a:moveTo>
                    <a:pt x="343" y="4"/>
                  </a:moveTo>
                  <a:lnTo>
                    <a:pt x="343" y="200"/>
                  </a:lnTo>
                  <a:lnTo>
                    <a:pt x="345" y="212"/>
                  </a:lnTo>
                  <a:lnTo>
                    <a:pt x="350" y="220"/>
                  </a:lnTo>
                  <a:lnTo>
                    <a:pt x="356" y="225"/>
                  </a:lnTo>
                  <a:lnTo>
                    <a:pt x="364" y="226"/>
                  </a:lnTo>
                  <a:lnTo>
                    <a:pt x="373" y="225"/>
                  </a:lnTo>
                  <a:lnTo>
                    <a:pt x="380" y="220"/>
                  </a:lnTo>
                  <a:lnTo>
                    <a:pt x="384" y="212"/>
                  </a:lnTo>
                  <a:lnTo>
                    <a:pt x="386" y="200"/>
                  </a:lnTo>
                  <a:lnTo>
                    <a:pt x="386" y="4"/>
                  </a:lnTo>
                  <a:lnTo>
                    <a:pt x="424" y="4"/>
                  </a:lnTo>
                  <a:lnTo>
                    <a:pt x="424" y="198"/>
                  </a:lnTo>
                  <a:lnTo>
                    <a:pt x="423" y="213"/>
                  </a:lnTo>
                  <a:lnTo>
                    <a:pt x="419" y="226"/>
                  </a:lnTo>
                  <a:lnTo>
                    <a:pt x="415" y="236"/>
                  </a:lnTo>
                  <a:lnTo>
                    <a:pt x="408" y="246"/>
                  </a:lnTo>
                  <a:lnTo>
                    <a:pt x="399" y="253"/>
                  </a:lnTo>
                  <a:lnTo>
                    <a:pt x="390" y="259"/>
                  </a:lnTo>
                  <a:lnTo>
                    <a:pt x="377" y="262"/>
                  </a:lnTo>
                  <a:lnTo>
                    <a:pt x="363" y="263"/>
                  </a:lnTo>
                  <a:lnTo>
                    <a:pt x="350" y="262"/>
                  </a:lnTo>
                  <a:lnTo>
                    <a:pt x="338" y="259"/>
                  </a:lnTo>
                  <a:lnTo>
                    <a:pt x="327" y="253"/>
                  </a:lnTo>
                  <a:lnTo>
                    <a:pt x="319" y="246"/>
                  </a:lnTo>
                  <a:lnTo>
                    <a:pt x="313" y="236"/>
                  </a:lnTo>
                  <a:lnTo>
                    <a:pt x="307" y="226"/>
                  </a:lnTo>
                  <a:lnTo>
                    <a:pt x="304" y="213"/>
                  </a:lnTo>
                  <a:lnTo>
                    <a:pt x="304" y="198"/>
                  </a:lnTo>
                  <a:lnTo>
                    <a:pt x="304" y="4"/>
                  </a:lnTo>
                  <a:lnTo>
                    <a:pt x="343" y="4"/>
                  </a:lnTo>
                  <a:close/>
                  <a:moveTo>
                    <a:pt x="189" y="4"/>
                  </a:moveTo>
                  <a:lnTo>
                    <a:pt x="189" y="200"/>
                  </a:lnTo>
                  <a:lnTo>
                    <a:pt x="191" y="212"/>
                  </a:lnTo>
                  <a:lnTo>
                    <a:pt x="195" y="220"/>
                  </a:lnTo>
                  <a:lnTo>
                    <a:pt x="201" y="225"/>
                  </a:lnTo>
                  <a:lnTo>
                    <a:pt x="210" y="226"/>
                  </a:lnTo>
                  <a:lnTo>
                    <a:pt x="218" y="225"/>
                  </a:lnTo>
                  <a:lnTo>
                    <a:pt x="225" y="220"/>
                  </a:lnTo>
                  <a:lnTo>
                    <a:pt x="229" y="212"/>
                  </a:lnTo>
                  <a:lnTo>
                    <a:pt x="231" y="200"/>
                  </a:lnTo>
                  <a:lnTo>
                    <a:pt x="231" y="4"/>
                  </a:lnTo>
                  <a:lnTo>
                    <a:pt x="269" y="4"/>
                  </a:lnTo>
                  <a:lnTo>
                    <a:pt x="269" y="198"/>
                  </a:lnTo>
                  <a:lnTo>
                    <a:pt x="268" y="213"/>
                  </a:lnTo>
                  <a:lnTo>
                    <a:pt x="265" y="226"/>
                  </a:lnTo>
                  <a:lnTo>
                    <a:pt x="261" y="236"/>
                  </a:lnTo>
                  <a:lnTo>
                    <a:pt x="253" y="246"/>
                  </a:lnTo>
                  <a:lnTo>
                    <a:pt x="245" y="253"/>
                  </a:lnTo>
                  <a:lnTo>
                    <a:pt x="235" y="259"/>
                  </a:lnTo>
                  <a:lnTo>
                    <a:pt x="223" y="262"/>
                  </a:lnTo>
                  <a:lnTo>
                    <a:pt x="209" y="263"/>
                  </a:lnTo>
                  <a:lnTo>
                    <a:pt x="195" y="262"/>
                  </a:lnTo>
                  <a:lnTo>
                    <a:pt x="182" y="259"/>
                  </a:lnTo>
                  <a:lnTo>
                    <a:pt x="173" y="253"/>
                  </a:lnTo>
                  <a:lnTo>
                    <a:pt x="164" y="246"/>
                  </a:lnTo>
                  <a:lnTo>
                    <a:pt x="157" y="236"/>
                  </a:lnTo>
                  <a:lnTo>
                    <a:pt x="153" y="226"/>
                  </a:lnTo>
                  <a:lnTo>
                    <a:pt x="150" y="213"/>
                  </a:lnTo>
                  <a:lnTo>
                    <a:pt x="149" y="198"/>
                  </a:lnTo>
                  <a:lnTo>
                    <a:pt x="149" y="4"/>
                  </a:lnTo>
                  <a:lnTo>
                    <a:pt x="189" y="4"/>
                  </a:lnTo>
                  <a:close/>
                  <a:moveTo>
                    <a:pt x="0" y="4"/>
                  </a:moveTo>
                  <a:lnTo>
                    <a:pt x="124" y="4"/>
                  </a:lnTo>
                  <a:lnTo>
                    <a:pt x="124" y="40"/>
                  </a:lnTo>
                  <a:lnTo>
                    <a:pt x="82" y="40"/>
                  </a:lnTo>
                  <a:lnTo>
                    <a:pt x="82" y="260"/>
                  </a:lnTo>
                  <a:lnTo>
                    <a:pt x="42" y="260"/>
                  </a:lnTo>
                  <a:lnTo>
                    <a:pt x="42" y="40"/>
                  </a:lnTo>
                  <a:lnTo>
                    <a:pt x="0" y="4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183062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959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9336" y="116632"/>
            <a:ext cx="11953328" cy="6624736"/>
          </a:xfrm>
          <a:custGeom>
            <a:avLst/>
            <a:gdLst/>
            <a:ahLst/>
            <a:cxnLst/>
            <a:rect l="l" t="t" r="r" b="b"/>
            <a:pathLst>
              <a:path w="11953328" h="6624736">
                <a:moveTo>
                  <a:pt x="0" y="0"/>
                </a:moveTo>
                <a:lnTo>
                  <a:pt x="11953328" y="0"/>
                </a:lnTo>
                <a:lnTo>
                  <a:pt x="11953328" y="6624736"/>
                </a:lnTo>
                <a:lnTo>
                  <a:pt x="10981220" y="6624736"/>
                </a:lnTo>
                <a:lnTo>
                  <a:pt x="10981220" y="6158810"/>
                </a:lnTo>
                <a:cubicBezTo>
                  <a:pt x="10981220" y="6117867"/>
                  <a:pt x="10948029" y="6084676"/>
                  <a:pt x="10907086" y="6084676"/>
                </a:cubicBezTo>
                <a:lnTo>
                  <a:pt x="8535074" y="6084676"/>
                </a:lnTo>
                <a:cubicBezTo>
                  <a:pt x="8494131" y="6084676"/>
                  <a:pt x="8460940" y="6117867"/>
                  <a:pt x="8460940" y="6158810"/>
                </a:cubicBezTo>
                <a:lnTo>
                  <a:pt x="8460940" y="6624736"/>
                </a:lnTo>
                <a:lnTo>
                  <a:pt x="0" y="662473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1225" y="404664"/>
            <a:ext cx="10369550" cy="115212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1224" y="1773237"/>
            <a:ext cx="10369551" cy="4248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71464" y="6309320"/>
            <a:ext cx="1375048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F9980053-1BD4-4F61-8D8E-7F4AFE1CC6D7}" type="datetime1">
              <a:rPr lang="fi-FI" smtClean="0"/>
              <a:t>2.4.2019</a:t>
            </a:fld>
            <a:endParaRPr lang="fi-FI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39616" y="6308725"/>
            <a:ext cx="5185171" cy="1446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r>
              <a:rPr lang="fi-FI"/>
              <a:t>Presentation name / Author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1225" y="6309320"/>
            <a:ext cx="360239" cy="1440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100000"/>
              </a:lnSpc>
              <a:defRPr sz="700">
                <a:solidFill>
                  <a:schemeClr val="accent1"/>
                </a:solidFill>
              </a:defRPr>
            </a:lvl1pPr>
          </a:lstStyle>
          <a:p>
            <a:fld id="{D5B008F9-AA2E-4FBA-9C76-30BCD8AD3008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7" name="Freeform 7"/>
          <p:cNvSpPr>
            <a:spLocks noEditPoints="1"/>
          </p:cNvSpPr>
          <p:nvPr userDrawn="1"/>
        </p:nvSpPr>
        <p:spPr bwMode="auto">
          <a:xfrm>
            <a:off x="263525" y="260350"/>
            <a:ext cx="366713" cy="576263"/>
          </a:xfrm>
          <a:custGeom>
            <a:avLst/>
            <a:gdLst>
              <a:gd name="T0" fmla="*/ 589 w 3463"/>
              <a:gd name="T1" fmla="*/ 4588 h 5446"/>
              <a:gd name="T2" fmla="*/ 901 w 3463"/>
              <a:gd name="T3" fmla="*/ 4495 h 5446"/>
              <a:gd name="T4" fmla="*/ 1183 w 3463"/>
              <a:gd name="T5" fmla="*/ 4342 h 5446"/>
              <a:gd name="T6" fmla="*/ 1424 w 3463"/>
              <a:gd name="T7" fmla="*/ 4137 h 5446"/>
              <a:gd name="T8" fmla="*/ 1613 w 3463"/>
              <a:gd name="T9" fmla="*/ 3886 h 5446"/>
              <a:gd name="T10" fmla="*/ 1742 w 3463"/>
              <a:gd name="T11" fmla="*/ 3596 h 5446"/>
              <a:gd name="T12" fmla="*/ 1800 w 3463"/>
              <a:gd name="T13" fmla="*/ 3274 h 5446"/>
              <a:gd name="T14" fmla="*/ 1812 w 3463"/>
              <a:gd name="T15" fmla="*/ 2191 h 5446"/>
              <a:gd name="T16" fmla="*/ 1880 w 3463"/>
              <a:gd name="T17" fmla="*/ 1886 h 5446"/>
              <a:gd name="T18" fmla="*/ 2007 w 3463"/>
              <a:gd name="T19" fmla="*/ 1606 h 5446"/>
              <a:gd name="T20" fmla="*/ 2186 w 3463"/>
              <a:gd name="T21" fmla="*/ 1363 h 5446"/>
              <a:gd name="T22" fmla="*/ 2410 w 3463"/>
              <a:gd name="T23" fmla="*/ 1166 h 5446"/>
              <a:gd name="T24" fmla="*/ 2673 w 3463"/>
              <a:gd name="T25" fmla="*/ 1023 h 5446"/>
              <a:gd name="T26" fmla="*/ 2968 w 3463"/>
              <a:gd name="T27" fmla="*/ 945 h 5446"/>
              <a:gd name="T28" fmla="*/ 3145 w 3463"/>
              <a:gd name="T29" fmla="*/ 1791 h 5446"/>
              <a:gd name="T30" fmla="*/ 3012 w 3463"/>
              <a:gd name="T31" fmla="*/ 1811 h 5446"/>
              <a:gd name="T32" fmla="*/ 2869 w 3463"/>
              <a:gd name="T33" fmla="*/ 1881 h 5446"/>
              <a:gd name="T34" fmla="*/ 2751 w 3463"/>
              <a:gd name="T35" fmla="*/ 1991 h 5446"/>
              <a:gd name="T36" fmla="*/ 2665 w 3463"/>
              <a:gd name="T37" fmla="*/ 2130 h 5446"/>
              <a:gd name="T38" fmla="*/ 2615 w 3463"/>
              <a:gd name="T39" fmla="*/ 2328 h 5446"/>
              <a:gd name="T40" fmla="*/ 2594 w 3463"/>
              <a:gd name="T41" fmla="*/ 3482 h 5446"/>
              <a:gd name="T42" fmla="*/ 2473 w 3463"/>
              <a:gd name="T43" fmla="*/ 3976 h 5446"/>
              <a:gd name="T44" fmla="*/ 2250 w 3463"/>
              <a:gd name="T45" fmla="*/ 4416 h 5446"/>
              <a:gd name="T46" fmla="*/ 1939 w 3463"/>
              <a:gd name="T47" fmla="*/ 4794 h 5446"/>
              <a:gd name="T48" fmla="*/ 1551 w 3463"/>
              <a:gd name="T49" fmla="*/ 5096 h 5446"/>
              <a:gd name="T50" fmla="*/ 1103 w 3463"/>
              <a:gd name="T51" fmla="*/ 5311 h 5446"/>
              <a:gd name="T52" fmla="*/ 605 w 3463"/>
              <a:gd name="T53" fmla="*/ 5428 h 5446"/>
              <a:gd name="T54" fmla="*/ 6 w 3463"/>
              <a:gd name="T55" fmla="*/ 4621 h 5446"/>
              <a:gd name="T56" fmla="*/ 3057 w 3463"/>
              <a:gd name="T57" fmla="*/ 833 h 5446"/>
              <a:gd name="T58" fmla="*/ 2734 w 3463"/>
              <a:gd name="T59" fmla="*/ 894 h 5446"/>
              <a:gd name="T60" fmla="*/ 2440 w 3463"/>
              <a:gd name="T61" fmla="*/ 1022 h 5446"/>
              <a:gd name="T62" fmla="*/ 2185 w 3463"/>
              <a:gd name="T63" fmla="*/ 1208 h 5446"/>
              <a:gd name="T64" fmla="*/ 1977 w 3463"/>
              <a:gd name="T65" fmla="*/ 1444 h 5446"/>
              <a:gd name="T66" fmla="*/ 1822 w 3463"/>
              <a:gd name="T67" fmla="*/ 1722 h 5446"/>
              <a:gd name="T68" fmla="*/ 1730 w 3463"/>
              <a:gd name="T69" fmla="*/ 2033 h 5446"/>
              <a:gd name="T70" fmla="*/ 1707 w 3463"/>
              <a:gd name="T71" fmla="*/ 3122 h 5446"/>
              <a:gd name="T72" fmla="*/ 1672 w 3463"/>
              <a:gd name="T73" fmla="*/ 3435 h 5446"/>
              <a:gd name="T74" fmla="*/ 1570 w 3463"/>
              <a:gd name="T75" fmla="*/ 3724 h 5446"/>
              <a:gd name="T76" fmla="*/ 1411 w 3463"/>
              <a:gd name="T77" fmla="*/ 3980 h 5446"/>
              <a:gd name="T78" fmla="*/ 1202 w 3463"/>
              <a:gd name="T79" fmla="*/ 4194 h 5446"/>
              <a:gd name="T80" fmla="*/ 951 w 3463"/>
              <a:gd name="T81" fmla="*/ 4360 h 5446"/>
              <a:gd name="T82" fmla="*/ 666 w 3463"/>
              <a:gd name="T83" fmla="*/ 4468 h 5446"/>
              <a:gd name="T84" fmla="*/ 354 w 3463"/>
              <a:gd name="T85" fmla="*/ 4511 h 5446"/>
              <a:gd name="T86" fmla="*/ 400 w 3463"/>
              <a:gd name="T87" fmla="*/ 3647 h 5446"/>
              <a:gd name="T88" fmla="*/ 537 w 3463"/>
              <a:gd name="T89" fmla="*/ 3606 h 5446"/>
              <a:gd name="T90" fmla="*/ 676 w 3463"/>
              <a:gd name="T91" fmla="*/ 3515 h 5446"/>
              <a:gd name="T92" fmla="*/ 773 w 3463"/>
              <a:gd name="T93" fmla="*/ 3397 h 5446"/>
              <a:gd name="T94" fmla="*/ 839 w 3463"/>
              <a:gd name="T95" fmla="*/ 3229 h 5446"/>
              <a:gd name="T96" fmla="*/ 854 w 3463"/>
              <a:gd name="T97" fmla="*/ 2182 h 5446"/>
              <a:gd name="T98" fmla="*/ 938 w 3463"/>
              <a:gd name="T99" fmla="*/ 1671 h 5446"/>
              <a:gd name="T100" fmla="*/ 1128 w 3463"/>
              <a:gd name="T101" fmla="*/ 1204 h 5446"/>
              <a:gd name="T102" fmla="*/ 1412 w 3463"/>
              <a:gd name="T103" fmla="*/ 795 h 5446"/>
              <a:gd name="T104" fmla="*/ 1775 w 3463"/>
              <a:gd name="T105" fmla="*/ 457 h 5446"/>
              <a:gd name="T106" fmla="*/ 2205 w 3463"/>
              <a:gd name="T107" fmla="*/ 203 h 5446"/>
              <a:gd name="T108" fmla="*/ 2688 w 3463"/>
              <a:gd name="T109" fmla="*/ 47 h 5446"/>
              <a:gd name="T110" fmla="*/ 3463 w 3463"/>
              <a:gd name="T111" fmla="*/ 0 h 5446"/>
              <a:gd name="T112" fmla="*/ 3170 w 3463"/>
              <a:gd name="T113" fmla="*/ 828 h 5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63" h="5446">
                <a:moveTo>
                  <a:pt x="293" y="4616"/>
                </a:moveTo>
                <a:lnTo>
                  <a:pt x="331" y="4616"/>
                </a:lnTo>
                <a:lnTo>
                  <a:pt x="368" y="4614"/>
                </a:lnTo>
                <a:lnTo>
                  <a:pt x="405" y="4612"/>
                </a:lnTo>
                <a:lnTo>
                  <a:pt x="443" y="4609"/>
                </a:lnTo>
                <a:lnTo>
                  <a:pt x="479" y="4605"/>
                </a:lnTo>
                <a:lnTo>
                  <a:pt x="516" y="4601"/>
                </a:lnTo>
                <a:lnTo>
                  <a:pt x="553" y="4595"/>
                </a:lnTo>
                <a:lnTo>
                  <a:pt x="589" y="4588"/>
                </a:lnTo>
                <a:lnTo>
                  <a:pt x="625" y="4581"/>
                </a:lnTo>
                <a:lnTo>
                  <a:pt x="660" y="4573"/>
                </a:lnTo>
                <a:lnTo>
                  <a:pt x="696" y="4564"/>
                </a:lnTo>
                <a:lnTo>
                  <a:pt x="731" y="4555"/>
                </a:lnTo>
                <a:lnTo>
                  <a:pt x="766" y="4544"/>
                </a:lnTo>
                <a:lnTo>
                  <a:pt x="800" y="4533"/>
                </a:lnTo>
                <a:lnTo>
                  <a:pt x="834" y="4521"/>
                </a:lnTo>
                <a:lnTo>
                  <a:pt x="868" y="4508"/>
                </a:lnTo>
                <a:lnTo>
                  <a:pt x="901" y="4495"/>
                </a:lnTo>
                <a:lnTo>
                  <a:pt x="934" y="4481"/>
                </a:lnTo>
                <a:lnTo>
                  <a:pt x="967" y="4466"/>
                </a:lnTo>
                <a:lnTo>
                  <a:pt x="999" y="4450"/>
                </a:lnTo>
                <a:lnTo>
                  <a:pt x="1031" y="4434"/>
                </a:lnTo>
                <a:lnTo>
                  <a:pt x="1062" y="4417"/>
                </a:lnTo>
                <a:lnTo>
                  <a:pt x="1093" y="4399"/>
                </a:lnTo>
                <a:lnTo>
                  <a:pt x="1124" y="4381"/>
                </a:lnTo>
                <a:lnTo>
                  <a:pt x="1154" y="4362"/>
                </a:lnTo>
                <a:lnTo>
                  <a:pt x="1183" y="4342"/>
                </a:lnTo>
                <a:lnTo>
                  <a:pt x="1212" y="4322"/>
                </a:lnTo>
                <a:lnTo>
                  <a:pt x="1240" y="4301"/>
                </a:lnTo>
                <a:lnTo>
                  <a:pt x="1268" y="4279"/>
                </a:lnTo>
                <a:lnTo>
                  <a:pt x="1296" y="4257"/>
                </a:lnTo>
                <a:lnTo>
                  <a:pt x="1322" y="4234"/>
                </a:lnTo>
                <a:lnTo>
                  <a:pt x="1349" y="4211"/>
                </a:lnTo>
                <a:lnTo>
                  <a:pt x="1374" y="4187"/>
                </a:lnTo>
                <a:lnTo>
                  <a:pt x="1399" y="4162"/>
                </a:lnTo>
                <a:lnTo>
                  <a:pt x="1424" y="4137"/>
                </a:lnTo>
                <a:lnTo>
                  <a:pt x="1447" y="4111"/>
                </a:lnTo>
                <a:lnTo>
                  <a:pt x="1470" y="4085"/>
                </a:lnTo>
                <a:lnTo>
                  <a:pt x="1493" y="4058"/>
                </a:lnTo>
                <a:lnTo>
                  <a:pt x="1515" y="4031"/>
                </a:lnTo>
                <a:lnTo>
                  <a:pt x="1536" y="4003"/>
                </a:lnTo>
                <a:lnTo>
                  <a:pt x="1556" y="3975"/>
                </a:lnTo>
                <a:lnTo>
                  <a:pt x="1576" y="3946"/>
                </a:lnTo>
                <a:lnTo>
                  <a:pt x="1595" y="3916"/>
                </a:lnTo>
                <a:lnTo>
                  <a:pt x="1613" y="3886"/>
                </a:lnTo>
                <a:lnTo>
                  <a:pt x="1631" y="3856"/>
                </a:lnTo>
                <a:lnTo>
                  <a:pt x="1647" y="3825"/>
                </a:lnTo>
                <a:lnTo>
                  <a:pt x="1663" y="3793"/>
                </a:lnTo>
                <a:lnTo>
                  <a:pt x="1678" y="3761"/>
                </a:lnTo>
                <a:lnTo>
                  <a:pt x="1693" y="3729"/>
                </a:lnTo>
                <a:lnTo>
                  <a:pt x="1706" y="3696"/>
                </a:lnTo>
                <a:lnTo>
                  <a:pt x="1719" y="3663"/>
                </a:lnTo>
                <a:lnTo>
                  <a:pt x="1731" y="3630"/>
                </a:lnTo>
                <a:lnTo>
                  <a:pt x="1742" y="3596"/>
                </a:lnTo>
                <a:lnTo>
                  <a:pt x="1753" y="3561"/>
                </a:lnTo>
                <a:lnTo>
                  <a:pt x="1762" y="3527"/>
                </a:lnTo>
                <a:lnTo>
                  <a:pt x="1770" y="3492"/>
                </a:lnTo>
                <a:lnTo>
                  <a:pt x="1777" y="3456"/>
                </a:lnTo>
                <a:lnTo>
                  <a:pt x="1784" y="3421"/>
                </a:lnTo>
                <a:lnTo>
                  <a:pt x="1789" y="3384"/>
                </a:lnTo>
                <a:lnTo>
                  <a:pt x="1794" y="3348"/>
                </a:lnTo>
                <a:lnTo>
                  <a:pt x="1797" y="3311"/>
                </a:lnTo>
                <a:lnTo>
                  <a:pt x="1800" y="3274"/>
                </a:lnTo>
                <a:lnTo>
                  <a:pt x="1801" y="3237"/>
                </a:lnTo>
                <a:lnTo>
                  <a:pt x="1802" y="3199"/>
                </a:lnTo>
                <a:lnTo>
                  <a:pt x="1802" y="2868"/>
                </a:lnTo>
                <a:lnTo>
                  <a:pt x="1802" y="2369"/>
                </a:lnTo>
                <a:lnTo>
                  <a:pt x="1802" y="2333"/>
                </a:lnTo>
                <a:lnTo>
                  <a:pt x="1803" y="2297"/>
                </a:lnTo>
                <a:lnTo>
                  <a:pt x="1806" y="2262"/>
                </a:lnTo>
                <a:lnTo>
                  <a:pt x="1808" y="2226"/>
                </a:lnTo>
                <a:lnTo>
                  <a:pt x="1812" y="2191"/>
                </a:lnTo>
                <a:lnTo>
                  <a:pt x="1817" y="2156"/>
                </a:lnTo>
                <a:lnTo>
                  <a:pt x="1822" y="2122"/>
                </a:lnTo>
                <a:lnTo>
                  <a:pt x="1828" y="2087"/>
                </a:lnTo>
                <a:lnTo>
                  <a:pt x="1835" y="2053"/>
                </a:lnTo>
                <a:lnTo>
                  <a:pt x="1842" y="2019"/>
                </a:lnTo>
                <a:lnTo>
                  <a:pt x="1851" y="1985"/>
                </a:lnTo>
                <a:lnTo>
                  <a:pt x="1860" y="1952"/>
                </a:lnTo>
                <a:lnTo>
                  <a:pt x="1870" y="1919"/>
                </a:lnTo>
                <a:lnTo>
                  <a:pt x="1880" y="1886"/>
                </a:lnTo>
                <a:lnTo>
                  <a:pt x="1892" y="1853"/>
                </a:lnTo>
                <a:lnTo>
                  <a:pt x="1904" y="1821"/>
                </a:lnTo>
                <a:lnTo>
                  <a:pt x="1916" y="1789"/>
                </a:lnTo>
                <a:lnTo>
                  <a:pt x="1930" y="1758"/>
                </a:lnTo>
                <a:lnTo>
                  <a:pt x="1944" y="1727"/>
                </a:lnTo>
                <a:lnTo>
                  <a:pt x="1959" y="1696"/>
                </a:lnTo>
                <a:lnTo>
                  <a:pt x="1974" y="1666"/>
                </a:lnTo>
                <a:lnTo>
                  <a:pt x="1990" y="1636"/>
                </a:lnTo>
                <a:lnTo>
                  <a:pt x="2007" y="1606"/>
                </a:lnTo>
                <a:lnTo>
                  <a:pt x="2024" y="1577"/>
                </a:lnTo>
                <a:lnTo>
                  <a:pt x="2042" y="1548"/>
                </a:lnTo>
                <a:lnTo>
                  <a:pt x="2061" y="1520"/>
                </a:lnTo>
                <a:lnTo>
                  <a:pt x="2080" y="1493"/>
                </a:lnTo>
                <a:lnTo>
                  <a:pt x="2100" y="1466"/>
                </a:lnTo>
                <a:lnTo>
                  <a:pt x="2121" y="1439"/>
                </a:lnTo>
                <a:lnTo>
                  <a:pt x="2142" y="1413"/>
                </a:lnTo>
                <a:lnTo>
                  <a:pt x="2163" y="1388"/>
                </a:lnTo>
                <a:lnTo>
                  <a:pt x="2186" y="1363"/>
                </a:lnTo>
                <a:lnTo>
                  <a:pt x="2208" y="1339"/>
                </a:lnTo>
                <a:lnTo>
                  <a:pt x="2232" y="1315"/>
                </a:lnTo>
                <a:lnTo>
                  <a:pt x="2255" y="1292"/>
                </a:lnTo>
                <a:lnTo>
                  <a:pt x="2280" y="1269"/>
                </a:lnTo>
                <a:lnTo>
                  <a:pt x="2305" y="1247"/>
                </a:lnTo>
                <a:lnTo>
                  <a:pt x="2330" y="1226"/>
                </a:lnTo>
                <a:lnTo>
                  <a:pt x="2356" y="1205"/>
                </a:lnTo>
                <a:lnTo>
                  <a:pt x="2383" y="1185"/>
                </a:lnTo>
                <a:lnTo>
                  <a:pt x="2410" y="1166"/>
                </a:lnTo>
                <a:lnTo>
                  <a:pt x="2437" y="1147"/>
                </a:lnTo>
                <a:lnTo>
                  <a:pt x="2465" y="1129"/>
                </a:lnTo>
                <a:lnTo>
                  <a:pt x="2493" y="1112"/>
                </a:lnTo>
                <a:lnTo>
                  <a:pt x="2522" y="1095"/>
                </a:lnTo>
                <a:lnTo>
                  <a:pt x="2551" y="1079"/>
                </a:lnTo>
                <a:lnTo>
                  <a:pt x="2581" y="1064"/>
                </a:lnTo>
                <a:lnTo>
                  <a:pt x="2611" y="1050"/>
                </a:lnTo>
                <a:lnTo>
                  <a:pt x="2642" y="1036"/>
                </a:lnTo>
                <a:lnTo>
                  <a:pt x="2673" y="1023"/>
                </a:lnTo>
                <a:lnTo>
                  <a:pt x="2704" y="1011"/>
                </a:lnTo>
                <a:lnTo>
                  <a:pt x="2736" y="1000"/>
                </a:lnTo>
                <a:lnTo>
                  <a:pt x="2768" y="990"/>
                </a:lnTo>
                <a:lnTo>
                  <a:pt x="2800" y="980"/>
                </a:lnTo>
                <a:lnTo>
                  <a:pt x="2833" y="971"/>
                </a:lnTo>
                <a:lnTo>
                  <a:pt x="2867" y="963"/>
                </a:lnTo>
                <a:lnTo>
                  <a:pt x="2900" y="956"/>
                </a:lnTo>
                <a:lnTo>
                  <a:pt x="2934" y="950"/>
                </a:lnTo>
                <a:lnTo>
                  <a:pt x="2968" y="945"/>
                </a:lnTo>
                <a:lnTo>
                  <a:pt x="3003" y="941"/>
                </a:lnTo>
                <a:lnTo>
                  <a:pt x="3038" y="938"/>
                </a:lnTo>
                <a:lnTo>
                  <a:pt x="3073" y="935"/>
                </a:lnTo>
                <a:lnTo>
                  <a:pt x="3109" y="934"/>
                </a:lnTo>
                <a:lnTo>
                  <a:pt x="3145" y="933"/>
                </a:lnTo>
                <a:lnTo>
                  <a:pt x="3463" y="933"/>
                </a:lnTo>
                <a:lnTo>
                  <a:pt x="3463" y="1361"/>
                </a:lnTo>
                <a:lnTo>
                  <a:pt x="3463" y="1791"/>
                </a:lnTo>
                <a:lnTo>
                  <a:pt x="3145" y="1791"/>
                </a:lnTo>
                <a:lnTo>
                  <a:pt x="3117" y="1792"/>
                </a:lnTo>
                <a:lnTo>
                  <a:pt x="3104" y="1793"/>
                </a:lnTo>
                <a:lnTo>
                  <a:pt x="3090" y="1795"/>
                </a:lnTo>
                <a:lnTo>
                  <a:pt x="3077" y="1797"/>
                </a:lnTo>
                <a:lnTo>
                  <a:pt x="3064" y="1799"/>
                </a:lnTo>
                <a:lnTo>
                  <a:pt x="3050" y="1801"/>
                </a:lnTo>
                <a:lnTo>
                  <a:pt x="3037" y="1804"/>
                </a:lnTo>
                <a:lnTo>
                  <a:pt x="3025" y="1808"/>
                </a:lnTo>
                <a:lnTo>
                  <a:pt x="3012" y="1811"/>
                </a:lnTo>
                <a:lnTo>
                  <a:pt x="2999" y="1815"/>
                </a:lnTo>
                <a:lnTo>
                  <a:pt x="2987" y="1820"/>
                </a:lnTo>
                <a:lnTo>
                  <a:pt x="2962" y="1829"/>
                </a:lnTo>
                <a:lnTo>
                  <a:pt x="2938" y="1840"/>
                </a:lnTo>
                <a:lnTo>
                  <a:pt x="2914" y="1853"/>
                </a:lnTo>
                <a:lnTo>
                  <a:pt x="2903" y="1859"/>
                </a:lnTo>
                <a:lnTo>
                  <a:pt x="2891" y="1866"/>
                </a:lnTo>
                <a:lnTo>
                  <a:pt x="2880" y="1873"/>
                </a:lnTo>
                <a:lnTo>
                  <a:pt x="2869" y="1881"/>
                </a:lnTo>
                <a:lnTo>
                  <a:pt x="2858" y="1889"/>
                </a:lnTo>
                <a:lnTo>
                  <a:pt x="2847" y="1897"/>
                </a:lnTo>
                <a:lnTo>
                  <a:pt x="2827" y="1914"/>
                </a:lnTo>
                <a:lnTo>
                  <a:pt x="2816" y="1922"/>
                </a:lnTo>
                <a:lnTo>
                  <a:pt x="2806" y="1932"/>
                </a:lnTo>
                <a:lnTo>
                  <a:pt x="2787" y="1950"/>
                </a:lnTo>
                <a:lnTo>
                  <a:pt x="2769" y="1970"/>
                </a:lnTo>
                <a:lnTo>
                  <a:pt x="2760" y="1980"/>
                </a:lnTo>
                <a:lnTo>
                  <a:pt x="2751" y="1991"/>
                </a:lnTo>
                <a:lnTo>
                  <a:pt x="2734" y="2012"/>
                </a:lnTo>
                <a:lnTo>
                  <a:pt x="2726" y="2023"/>
                </a:lnTo>
                <a:lnTo>
                  <a:pt x="2719" y="2034"/>
                </a:lnTo>
                <a:lnTo>
                  <a:pt x="2704" y="2057"/>
                </a:lnTo>
                <a:lnTo>
                  <a:pt x="2697" y="2069"/>
                </a:lnTo>
                <a:lnTo>
                  <a:pt x="2690" y="2081"/>
                </a:lnTo>
                <a:lnTo>
                  <a:pt x="2683" y="2093"/>
                </a:lnTo>
                <a:lnTo>
                  <a:pt x="2677" y="2105"/>
                </a:lnTo>
                <a:lnTo>
                  <a:pt x="2665" y="2130"/>
                </a:lnTo>
                <a:lnTo>
                  <a:pt x="2655" y="2155"/>
                </a:lnTo>
                <a:lnTo>
                  <a:pt x="2645" y="2181"/>
                </a:lnTo>
                <a:lnTo>
                  <a:pt x="2637" y="2207"/>
                </a:lnTo>
                <a:lnTo>
                  <a:pt x="2630" y="2233"/>
                </a:lnTo>
                <a:lnTo>
                  <a:pt x="2627" y="2246"/>
                </a:lnTo>
                <a:lnTo>
                  <a:pt x="2624" y="2260"/>
                </a:lnTo>
                <a:lnTo>
                  <a:pt x="2619" y="2287"/>
                </a:lnTo>
                <a:lnTo>
                  <a:pt x="2616" y="2314"/>
                </a:lnTo>
                <a:lnTo>
                  <a:pt x="2615" y="2328"/>
                </a:lnTo>
                <a:lnTo>
                  <a:pt x="2614" y="2341"/>
                </a:lnTo>
                <a:lnTo>
                  <a:pt x="2613" y="2369"/>
                </a:lnTo>
                <a:lnTo>
                  <a:pt x="2613" y="2868"/>
                </a:lnTo>
                <a:lnTo>
                  <a:pt x="2612" y="3190"/>
                </a:lnTo>
                <a:lnTo>
                  <a:pt x="2612" y="3249"/>
                </a:lnTo>
                <a:lnTo>
                  <a:pt x="2609" y="3308"/>
                </a:lnTo>
                <a:lnTo>
                  <a:pt x="2606" y="3366"/>
                </a:lnTo>
                <a:lnTo>
                  <a:pt x="2600" y="3424"/>
                </a:lnTo>
                <a:lnTo>
                  <a:pt x="2594" y="3482"/>
                </a:lnTo>
                <a:lnTo>
                  <a:pt x="2586" y="3539"/>
                </a:lnTo>
                <a:lnTo>
                  <a:pt x="2576" y="3595"/>
                </a:lnTo>
                <a:lnTo>
                  <a:pt x="2566" y="3651"/>
                </a:lnTo>
                <a:lnTo>
                  <a:pt x="2553" y="3706"/>
                </a:lnTo>
                <a:lnTo>
                  <a:pt x="2540" y="3761"/>
                </a:lnTo>
                <a:lnTo>
                  <a:pt x="2525" y="3817"/>
                </a:lnTo>
                <a:lnTo>
                  <a:pt x="2509" y="3870"/>
                </a:lnTo>
                <a:lnTo>
                  <a:pt x="2491" y="3923"/>
                </a:lnTo>
                <a:lnTo>
                  <a:pt x="2473" y="3976"/>
                </a:lnTo>
                <a:lnTo>
                  <a:pt x="2453" y="4027"/>
                </a:lnTo>
                <a:lnTo>
                  <a:pt x="2432" y="4078"/>
                </a:lnTo>
                <a:lnTo>
                  <a:pt x="2409" y="4129"/>
                </a:lnTo>
                <a:lnTo>
                  <a:pt x="2386" y="4179"/>
                </a:lnTo>
                <a:lnTo>
                  <a:pt x="2361" y="4228"/>
                </a:lnTo>
                <a:lnTo>
                  <a:pt x="2335" y="4276"/>
                </a:lnTo>
                <a:lnTo>
                  <a:pt x="2308" y="4324"/>
                </a:lnTo>
                <a:lnTo>
                  <a:pt x="2279" y="4370"/>
                </a:lnTo>
                <a:lnTo>
                  <a:pt x="2250" y="4416"/>
                </a:lnTo>
                <a:lnTo>
                  <a:pt x="2220" y="4462"/>
                </a:lnTo>
                <a:lnTo>
                  <a:pt x="2188" y="4506"/>
                </a:lnTo>
                <a:lnTo>
                  <a:pt x="2156" y="4550"/>
                </a:lnTo>
                <a:lnTo>
                  <a:pt x="2122" y="4593"/>
                </a:lnTo>
                <a:lnTo>
                  <a:pt x="2087" y="4635"/>
                </a:lnTo>
                <a:lnTo>
                  <a:pt x="2052" y="4676"/>
                </a:lnTo>
                <a:lnTo>
                  <a:pt x="2015" y="4716"/>
                </a:lnTo>
                <a:lnTo>
                  <a:pt x="1977" y="4755"/>
                </a:lnTo>
                <a:lnTo>
                  <a:pt x="1939" y="4794"/>
                </a:lnTo>
                <a:lnTo>
                  <a:pt x="1899" y="4831"/>
                </a:lnTo>
                <a:lnTo>
                  <a:pt x="1859" y="4868"/>
                </a:lnTo>
                <a:lnTo>
                  <a:pt x="1818" y="4904"/>
                </a:lnTo>
                <a:lnTo>
                  <a:pt x="1776" y="4939"/>
                </a:lnTo>
                <a:lnTo>
                  <a:pt x="1733" y="4972"/>
                </a:lnTo>
                <a:lnTo>
                  <a:pt x="1688" y="5005"/>
                </a:lnTo>
                <a:lnTo>
                  <a:pt x="1643" y="5036"/>
                </a:lnTo>
                <a:lnTo>
                  <a:pt x="1598" y="5067"/>
                </a:lnTo>
                <a:lnTo>
                  <a:pt x="1551" y="5096"/>
                </a:lnTo>
                <a:lnTo>
                  <a:pt x="1504" y="5125"/>
                </a:lnTo>
                <a:lnTo>
                  <a:pt x="1457" y="5152"/>
                </a:lnTo>
                <a:lnTo>
                  <a:pt x="1408" y="5178"/>
                </a:lnTo>
                <a:lnTo>
                  <a:pt x="1359" y="5203"/>
                </a:lnTo>
                <a:lnTo>
                  <a:pt x="1309" y="5227"/>
                </a:lnTo>
                <a:lnTo>
                  <a:pt x="1258" y="5250"/>
                </a:lnTo>
                <a:lnTo>
                  <a:pt x="1207" y="5272"/>
                </a:lnTo>
                <a:lnTo>
                  <a:pt x="1155" y="5292"/>
                </a:lnTo>
                <a:lnTo>
                  <a:pt x="1103" y="5311"/>
                </a:lnTo>
                <a:lnTo>
                  <a:pt x="1050" y="5329"/>
                </a:lnTo>
                <a:lnTo>
                  <a:pt x="996" y="5346"/>
                </a:lnTo>
                <a:lnTo>
                  <a:pt x="942" y="5362"/>
                </a:lnTo>
                <a:lnTo>
                  <a:pt x="887" y="5376"/>
                </a:lnTo>
                <a:lnTo>
                  <a:pt x="831" y="5389"/>
                </a:lnTo>
                <a:lnTo>
                  <a:pt x="775" y="5400"/>
                </a:lnTo>
                <a:lnTo>
                  <a:pt x="719" y="5411"/>
                </a:lnTo>
                <a:lnTo>
                  <a:pt x="662" y="5420"/>
                </a:lnTo>
                <a:lnTo>
                  <a:pt x="605" y="5428"/>
                </a:lnTo>
                <a:lnTo>
                  <a:pt x="547" y="5434"/>
                </a:lnTo>
                <a:lnTo>
                  <a:pt x="489" y="5439"/>
                </a:lnTo>
                <a:lnTo>
                  <a:pt x="430" y="5442"/>
                </a:lnTo>
                <a:lnTo>
                  <a:pt x="371" y="5444"/>
                </a:lnTo>
                <a:lnTo>
                  <a:pt x="312" y="5445"/>
                </a:lnTo>
                <a:lnTo>
                  <a:pt x="73" y="5446"/>
                </a:lnTo>
                <a:lnTo>
                  <a:pt x="0" y="5446"/>
                </a:lnTo>
                <a:lnTo>
                  <a:pt x="3" y="5034"/>
                </a:lnTo>
                <a:lnTo>
                  <a:pt x="6" y="4621"/>
                </a:lnTo>
                <a:lnTo>
                  <a:pt x="21" y="4620"/>
                </a:lnTo>
                <a:lnTo>
                  <a:pt x="69" y="4619"/>
                </a:lnTo>
                <a:lnTo>
                  <a:pt x="157" y="4617"/>
                </a:lnTo>
                <a:lnTo>
                  <a:pt x="219" y="4616"/>
                </a:lnTo>
                <a:lnTo>
                  <a:pt x="293" y="4616"/>
                </a:lnTo>
                <a:close/>
                <a:moveTo>
                  <a:pt x="3170" y="828"/>
                </a:moveTo>
                <a:lnTo>
                  <a:pt x="3132" y="829"/>
                </a:lnTo>
                <a:lnTo>
                  <a:pt x="3095" y="830"/>
                </a:lnTo>
                <a:lnTo>
                  <a:pt x="3057" y="833"/>
                </a:lnTo>
                <a:lnTo>
                  <a:pt x="3020" y="836"/>
                </a:lnTo>
                <a:lnTo>
                  <a:pt x="2983" y="840"/>
                </a:lnTo>
                <a:lnTo>
                  <a:pt x="2946" y="845"/>
                </a:lnTo>
                <a:lnTo>
                  <a:pt x="2910" y="851"/>
                </a:lnTo>
                <a:lnTo>
                  <a:pt x="2874" y="858"/>
                </a:lnTo>
                <a:lnTo>
                  <a:pt x="2838" y="866"/>
                </a:lnTo>
                <a:lnTo>
                  <a:pt x="2803" y="875"/>
                </a:lnTo>
                <a:lnTo>
                  <a:pt x="2768" y="884"/>
                </a:lnTo>
                <a:lnTo>
                  <a:pt x="2734" y="894"/>
                </a:lnTo>
                <a:lnTo>
                  <a:pt x="2699" y="905"/>
                </a:lnTo>
                <a:lnTo>
                  <a:pt x="2665" y="917"/>
                </a:lnTo>
                <a:lnTo>
                  <a:pt x="2632" y="930"/>
                </a:lnTo>
                <a:lnTo>
                  <a:pt x="2599" y="943"/>
                </a:lnTo>
                <a:lnTo>
                  <a:pt x="2566" y="958"/>
                </a:lnTo>
                <a:lnTo>
                  <a:pt x="2534" y="973"/>
                </a:lnTo>
                <a:lnTo>
                  <a:pt x="2502" y="988"/>
                </a:lnTo>
                <a:lnTo>
                  <a:pt x="2471" y="1005"/>
                </a:lnTo>
                <a:lnTo>
                  <a:pt x="2440" y="1022"/>
                </a:lnTo>
                <a:lnTo>
                  <a:pt x="2410" y="1040"/>
                </a:lnTo>
                <a:lnTo>
                  <a:pt x="2380" y="1059"/>
                </a:lnTo>
                <a:lnTo>
                  <a:pt x="2351" y="1078"/>
                </a:lnTo>
                <a:lnTo>
                  <a:pt x="2322" y="1098"/>
                </a:lnTo>
                <a:lnTo>
                  <a:pt x="2293" y="1119"/>
                </a:lnTo>
                <a:lnTo>
                  <a:pt x="2265" y="1140"/>
                </a:lnTo>
                <a:lnTo>
                  <a:pt x="2238" y="1162"/>
                </a:lnTo>
                <a:lnTo>
                  <a:pt x="2211" y="1185"/>
                </a:lnTo>
                <a:lnTo>
                  <a:pt x="2185" y="1208"/>
                </a:lnTo>
                <a:lnTo>
                  <a:pt x="2160" y="1232"/>
                </a:lnTo>
                <a:lnTo>
                  <a:pt x="2135" y="1257"/>
                </a:lnTo>
                <a:lnTo>
                  <a:pt x="2110" y="1282"/>
                </a:lnTo>
                <a:lnTo>
                  <a:pt x="2086" y="1307"/>
                </a:lnTo>
                <a:lnTo>
                  <a:pt x="2063" y="1334"/>
                </a:lnTo>
                <a:lnTo>
                  <a:pt x="2040" y="1360"/>
                </a:lnTo>
                <a:lnTo>
                  <a:pt x="2019" y="1388"/>
                </a:lnTo>
                <a:lnTo>
                  <a:pt x="1997" y="1416"/>
                </a:lnTo>
                <a:lnTo>
                  <a:pt x="1977" y="1444"/>
                </a:lnTo>
                <a:lnTo>
                  <a:pt x="1957" y="1473"/>
                </a:lnTo>
                <a:lnTo>
                  <a:pt x="1937" y="1502"/>
                </a:lnTo>
                <a:lnTo>
                  <a:pt x="1919" y="1532"/>
                </a:lnTo>
                <a:lnTo>
                  <a:pt x="1901" y="1563"/>
                </a:lnTo>
                <a:lnTo>
                  <a:pt x="1884" y="1594"/>
                </a:lnTo>
                <a:lnTo>
                  <a:pt x="1867" y="1625"/>
                </a:lnTo>
                <a:lnTo>
                  <a:pt x="1852" y="1658"/>
                </a:lnTo>
                <a:lnTo>
                  <a:pt x="1837" y="1690"/>
                </a:lnTo>
                <a:lnTo>
                  <a:pt x="1822" y="1722"/>
                </a:lnTo>
                <a:lnTo>
                  <a:pt x="1809" y="1755"/>
                </a:lnTo>
                <a:lnTo>
                  <a:pt x="1796" y="1789"/>
                </a:lnTo>
                <a:lnTo>
                  <a:pt x="1785" y="1823"/>
                </a:lnTo>
                <a:lnTo>
                  <a:pt x="1774" y="1857"/>
                </a:lnTo>
                <a:lnTo>
                  <a:pt x="1763" y="1891"/>
                </a:lnTo>
                <a:lnTo>
                  <a:pt x="1754" y="1926"/>
                </a:lnTo>
                <a:lnTo>
                  <a:pt x="1745" y="1961"/>
                </a:lnTo>
                <a:lnTo>
                  <a:pt x="1738" y="1997"/>
                </a:lnTo>
                <a:lnTo>
                  <a:pt x="1730" y="2033"/>
                </a:lnTo>
                <a:lnTo>
                  <a:pt x="1724" y="2069"/>
                </a:lnTo>
                <a:lnTo>
                  <a:pt x="1719" y="2105"/>
                </a:lnTo>
                <a:lnTo>
                  <a:pt x="1715" y="2142"/>
                </a:lnTo>
                <a:lnTo>
                  <a:pt x="1712" y="2179"/>
                </a:lnTo>
                <a:lnTo>
                  <a:pt x="1709" y="2216"/>
                </a:lnTo>
                <a:lnTo>
                  <a:pt x="1708" y="2254"/>
                </a:lnTo>
                <a:lnTo>
                  <a:pt x="1707" y="2291"/>
                </a:lnTo>
                <a:lnTo>
                  <a:pt x="1707" y="2622"/>
                </a:lnTo>
                <a:lnTo>
                  <a:pt x="1707" y="3122"/>
                </a:lnTo>
                <a:lnTo>
                  <a:pt x="1707" y="3157"/>
                </a:lnTo>
                <a:lnTo>
                  <a:pt x="1706" y="3193"/>
                </a:lnTo>
                <a:lnTo>
                  <a:pt x="1703" y="3228"/>
                </a:lnTo>
                <a:lnTo>
                  <a:pt x="1700" y="3264"/>
                </a:lnTo>
                <a:lnTo>
                  <a:pt x="1696" y="3298"/>
                </a:lnTo>
                <a:lnTo>
                  <a:pt x="1691" y="3333"/>
                </a:lnTo>
                <a:lnTo>
                  <a:pt x="1686" y="3367"/>
                </a:lnTo>
                <a:lnTo>
                  <a:pt x="1679" y="3402"/>
                </a:lnTo>
                <a:lnTo>
                  <a:pt x="1672" y="3435"/>
                </a:lnTo>
                <a:lnTo>
                  <a:pt x="1664" y="3469"/>
                </a:lnTo>
                <a:lnTo>
                  <a:pt x="1655" y="3502"/>
                </a:lnTo>
                <a:lnTo>
                  <a:pt x="1645" y="3535"/>
                </a:lnTo>
                <a:lnTo>
                  <a:pt x="1634" y="3567"/>
                </a:lnTo>
                <a:lnTo>
                  <a:pt x="1623" y="3599"/>
                </a:lnTo>
                <a:lnTo>
                  <a:pt x="1611" y="3631"/>
                </a:lnTo>
                <a:lnTo>
                  <a:pt x="1598" y="3662"/>
                </a:lnTo>
                <a:lnTo>
                  <a:pt x="1585" y="3693"/>
                </a:lnTo>
                <a:lnTo>
                  <a:pt x="1570" y="3724"/>
                </a:lnTo>
                <a:lnTo>
                  <a:pt x="1555" y="3754"/>
                </a:lnTo>
                <a:lnTo>
                  <a:pt x="1540" y="3784"/>
                </a:lnTo>
                <a:lnTo>
                  <a:pt x="1523" y="3814"/>
                </a:lnTo>
                <a:lnTo>
                  <a:pt x="1506" y="3843"/>
                </a:lnTo>
                <a:lnTo>
                  <a:pt x="1489" y="3871"/>
                </a:lnTo>
                <a:lnTo>
                  <a:pt x="1470" y="3899"/>
                </a:lnTo>
                <a:lnTo>
                  <a:pt x="1451" y="3927"/>
                </a:lnTo>
                <a:lnTo>
                  <a:pt x="1431" y="3954"/>
                </a:lnTo>
                <a:lnTo>
                  <a:pt x="1411" y="3980"/>
                </a:lnTo>
                <a:lnTo>
                  <a:pt x="1390" y="4006"/>
                </a:lnTo>
                <a:lnTo>
                  <a:pt x="1369" y="4031"/>
                </a:lnTo>
                <a:lnTo>
                  <a:pt x="1347" y="4056"/>
                </a:lnTo>
                <a:lnTo>
                  <a:pt x="1324" y="4081"/>
                </a:lnTo>
                <a:lnTo>
                  <a:pt x="1301" y="4105"/>
                </a:lnTo>
                <a:lnTo>
                  <a:pt x="1277" y="4128"/>
                </a:lnTo>
                <a:lnTo>
                  <a:pt x="1252" y="4151"/>
                </a:lnTo>
                <a:lnTo>
                  <a:pt x="1227" y="4173"/>
                </a:lnTo>
                <a:lnTo>
                  <a:pt x="1202" y="4194"/>
                </a:lnTo>
                <a:lnTo>
                  <a:pt x="1176" y="4215"/>
                </a:lnTo>
                <a:lnTo>
                  <a:pt x="1149" y="4236"/>
                </a:lnTo>
                <a:lnTo>
                  <a:pt x="1123" y="4255"/>
                </a:lnTo>
                <a:lnTo>
                  <a:pt x="1095" y="4274"/>
                </a:lnTo>
                <a:lnTo>
                  <a:pt x="1067" y="4293"/>
                </a:lnTo>
                <a:lnTo>
                  <a:pt x="1039" y="4310"/>
                </a:lnTo>
                <a:lnTo>
                  <a:pt x="1010" y="4327"/>
                </a:lnTo>
                <a:lnTo>
                  <a:pt x="981" y="4344"/>
                </a:lnTo>
                <a:lnTo>
                  <a:pt x="951" y="4360"/>
                </a:lnTo>
                <a:lnTo>
                  <a:pt x="921" y="4374"/>
                </a:lnTo>
                <a:lnTo>
                  <a:pt x="890" y="4389"/>
                </a:lnTo>
                <a:lnTo>
                  <a:pt x="859" y="4402"/>
                </a:lnTo>
                <a:lnTo>
                  <a:pt x="828" y="4415"/>
                </a:lnTo>
                <a:lnTo>
                  <a:pt x="796" y="4427"/>
                </a:lnTo>
                <a:lnTo>
                  <a:pt x="764" y="4438"/>
                </a:lnTo>
                <a:lnTo>
                  <a:pt x="732" y="4449"/>
                </a:lnTo>
                <a:lnTo>
                  <a:pt x="699" y="4459"/>
                </a:lnTo>
                <a:lnTo>
                  <a:pt x="666" y="4468"/>
                </a:lnTo>
                <a:lnTo>
                  <a:pt x="632" y="4476"/>
                </a:lnTo>
                <a:lnTo>
                  <a:pt x="598" y="4483"/>
                </a:lnTo>
                <a:lnTo>
                  <a:pt x="564" y="4490"/>
                </a:lnTo>
                <a:lnTo>
                  <a:pt x="530" y="4495"/>
                </a:lnTo>
                <a:lnTo>
                  <a:pt x="496" y="4500"/>
                </a:lnTo>
                <a:lnTo>
                  <a:pt x="461" y="4504"/>
                </a:lnTo>
                <a:lnTo>
                  <a:pt x="425" y="4507"/>
                </a:lnTo>
                <a:lnTo>
                  <a:pt x="390" y="4510"/>
                </a:lnTo>
                <a:lnTo>
                  <a:pt x="354" y="4511"/>
                </a:lnTo>
                <a:lnTo>
                  <a:pt x="319" y="4511"/>
                </a:lnTo>
                <a:lnTo>
                  <a:pt x="0" y="4511"/>
                </a:lnTo>
                <a:lnTo>
                  <a:pt x="0" y="4082"/>
                </a:lnTo>
                <a:lnTo>
                  <a:pt x="0" y="3653"/>
                </a:lnTo>
                <a:lnTo>
                  <a:pt x="319" y="3653"/>
                </a:lnTo>
                <a:lnTo>
                  <a:pt x="346" y="3653"/>
                </a:lnTo>
                <a:lnTo>
                  <a:pt x="373" y="3651"/>
                </a:lnTo>
                <a:lnTo>
                  <a:pt x="386" y="3649"/>
                </a:lnTo>
                <a:lnTo>
                  <a:pt x="400" y="3647"/>
                </a:lnTo>
                <a:lnTo>
                  <a:pt x="413" y="3645"/>
                </a:lnTo>
                <a:lnTo>
                  <a:pt x="426" y="3642"/>
                </a:lnTo>
                <a:lnTo>
                  <a:pt x="439" y="3640"/>
                </a:lnTo>
                <a:lnTo>
                  <a:pt x="451" y="3637"/>
                </a:lnTo>
                <a:lnTo>
                  <a:pt x="464" y="3633"/>
                </a:lnTo>
                <a:lnTo>
                  <a:pt x="477" y="3629"/>
                </a:lnTo>
                <a:lnTo>
                  <a:pt x="501" y="3621"/>
                </a:lnTo>
                <a:lnTo>
                  <a:pt x="526" y="3611"/>
                </a:lnTo>
                <a:lnTo>
                  <a:pt x="537" y="3606"/>
                </a:lnTo>
                <a:lnTo>
                  <a:pt x="549" y="3601"/>
                </a:lnTo>
                <a:lnTo>
                  <a:pt x="572" y="3589"/>
                </a:lnTo>
                <a:lnTo>
                  <a:pt x="583" y="3583"/>
                </a:lnTo>
                <a:lnTo>
                  <a:pt x="594" y="3576"/>
                </a:lnTo>
                <a:lnTo>
                  <a:pt x="616" y="3562"/>
                </a:lnTo>
                <a:lnTo>
                  <a:pt x="637" y="3548"/>
                </a:lnTo>
                <a:lnTo>
                  <a:pt x="647" y="3540"/>
                </a:lnTo>
                <a:lnTo>
                  <a:pt x="657" y="3532"/>
                </a:lnTo>
                <a:lnTo>
                  <a:pt x="676" y="3515"/>
                </a:lnTo>
                <a:lnTo>
                  <a:pt x="694" y="3498"/>
                </a:lnTo>
                <a:lnTo>
                  <a:pt x="703" y="3488"/>
                </a:lnTo>
                <a:lnTo>
                  <a:pt x="712" y="3479"/>
                </a:lnTo>
                <a:lnTo>
                  <a:pt x="729" y="3460"/>
                </a:lnTo>
                <a:lnTo>
                  <a:pt x="737" y="3450"/>
                </a:lnTo>
                <a:lnTo>
                  <a:pt x="745" y="3440"/>
                </a:lnTo>
                <a:lnTo>
                  <a:pt x="759" y="3419"/>
                </a:lnTo>
                <a:lnTo>
                  <a:pt x="766" y="3408"/>
                </a:lnTo>
                <a:lnTo>
                  <a:pt x="773" y="3397"/>
                </a:lnTo>
                <a:lnTo>
                  <a:pt x="780" y="3386"/>
                </a:lnTo>
                <a:lnTo>
                  <a:pt x="786" y="3375"/>
                </a:lnTo>
                <a:lnTo>
                  <a:pt x="798" y="3352"/>
                </a:lnTo>
                <a:lnTo>
                  <a:pt x="808" y="3329"/>
                </a:lnTo>
                <a:lnTo>
                  <a:pt x="818" y="3304"/>
                </a:lnTo>
                <a:lnTo>
                  <a:pt x="826" y="3280"/>
                </a:lnTo>
                <a:lnTo>
                  <a:pt x="833" y="3254"/>
                </a:lnTo>
                <a:lnTo>
                  <a:pt x="837" y="3242"/>
                </a:lnTo>
                <a:lnTo>
                  <a:pt x="839" y="3229"/>
                </a:lnTo>
                <a:lnTo>
                  <a:pt x="844" y="3203"/>
                </a:lnTo>
                <a:lnTo>
                  <a:pt x="847" y="3176"/>
                </a:lnTo>
                <a:lnTo>
                  <a:pt x="849" y="3162"/>
                </a:lnTo>
                <a:lnTo>
                  <a:pt x="849" y="3149"/>
                </a:lnTo>
                <a:lnTo>
                  <a:pt x="850" y="3122"/>
                </a:lnTo>
                <a:lnTo>
                  <a:pt x="850" y="2622"/>
                </a:lnTo>
                <a:lnTo>
                  <a:pt x="851" y="2301"/>
                </a:lnTo>
                <a:lnTo>
                  <a:pt x="852" y="2241"/>
                </a:lnTo>
                <a:lnTo>
                  <a:pt x="854" y="2182"/>
                </a:lnTo>
                <a:lnTo>
                  <a:pt x="858" y="2124"/>
                </a:lnTo>
                <a:lnTo>
                  <a:pt x="863" y="2066"/>
                </a:lnTo>
                <a:lnTo>
                  <a:pt x="869" y="2008"/>
                </a:lnTo>
                <a:lnTo>
                  <a:pt x="877" y="1951"/>
                </a:lnTo>
                <a:lnTo>
                  <a:pt x="887" y="1894"/>
                </a:lnTo>
                <a:lnTo>
                  <a:pt x="898" y="1837"/>
                </a:lnTo>
                <a:lnTo>
                  <a:pt x="910" y="1782"/>
                </a:lnTo>
                <a:lnTo>
                  <a:pt x="923" y="1726"/>
                </a:lnTo>
                <a:lnTo>
                  <a:pt x="938" y="1671"/>
                </a:lnTo>
                <a:lnTo>
                  <a:pt x="954" y="1616"/>
                </a:lnTo>
                <a:lnTo>
                  <a:pt x="972" y="1562"/>
                </a:lnTo>
                <a:lnTo>
                  <a:pt x="990" y="1509"/>
                </a:lnTo>
                <a:lnTo>
                  <a:pt x="1010" y="1457"/>
                </a:lnTo>
                <a:lnTo>
                  <a:pt x="1032" y="1405"/>
                </a:lnTo>
                <a:lnTo>
                  <a:pt x="1054" y="1354"/>
                </a:lnTo>
                <a:lnTo>
                  <a:pt x="1078" y="1303"/>
                </a:lnTo>
                <a:lnTo>
                  <a:pt x="1102" y="1253"/>
                </a:lnTo>
                <a:lnTo>
                  <a:pt x="1128" y="1204"/>
                </a:lnTo>
                <a:lnTo>
                  <a:pt x="1156" y="1155"/>
                </a:lnTo>
                <a:lnTo>
                  <a:pt x="1184" y="1108"/>
                </a:lnTo>
                <a:lnTo>
                  <a:pt x="1213" y="1061"/>
                </a:lnTo>
                <a:lnTo>
                  <a:pt x="1244" y="1014"/>
                </a:lnTo>
                <a:lnTo>
                  <a:pt x="1275" y="969"/>
                </a:lnTo>
                <a:lnTo>
                  <a:pt x="1308" y="924"/>
                </a:lnTo>
                <a:lnTo>
                  <a:pt x="1341" y="880"/>
                </a:lnTo>
                <a:lnTo>
                  <a:pt x="1376" y="837"/>
                </a:lnTo>
                <a:lnTo>
                  <a:pt x="1412" y="795"/>
                </a:lnTo>
                <a:lnTo>
                  <a:pt x="1448" y="754"/>
                </a:lnTo>
                <a:lnTo>
                  <a:pt x="1486" y="714"/>
                </a:lnTo>
                <a:lnTo>
                  <a:pt x="1524" y="674"/>
                </a:lnTo>
                <a:lnTo>
                  <a:pt x="1564" y="636"/>
                </a:lnTo>
                <a:lnTo>
                  <a:pt x="1604" y="598"/>
                </a:lnTo>
                <a:lnTo>
                  <a:pt x="1645" y="561"/>
                </a:lnTo>
                <a:lnTo>
                  <a:pt x="1688" y="525"/>
                </a:lnTo>
                <a:lnTo>
                  <a:pt x="1731" y="490"/>
                </a:lnTo>
                <a:lnTo>
                  <a:pt x="1775" y="457"/>
                </a:lnTo>
                <a:lnTo>
                  <a:pt x="1820" y="424"/>
                </a:lnTo>
                <a:lnTo>
                  <a:pt x="1866" y="392"/>
                </a:lnTo>
                <a:lnTo>
                  <a:pt x="1912" y="362"/>
                </a:lnTo>
                <a:lnTo>
                  <a:pt x="1959" y="333"/>
                </a:lnTo>
                <a:lnTo>
                  <a:pt x="2007" y="304"/>
                </a:lnTo>
                <a:lnTo>
                  <a:pt x="2055" y="277"/>
                </a:lnTo>
                <a:lnTo>
                  <a:pt x="2104" y="251"/>
                </a:lnTo>
                <a:lnTo>
                  <a:pt x="2154" y="227"/>
                </a:lnTo>
                <a:lnTo>
                  <a:pt x="2205" y="203"/>
                </a:lnTo>
                <a:lnTo>
                  <a:pt x="2256" y="180"/>
                </a:lnTo>
                <a:lnTo>
                  <a:pt x="2308" y="159"/>
                </a:lnTo>
                <a:lnTo>
                  <a:pt x="2361" y="139"/>
                </a:lnTo>
                <a:lnTo>
                  <a:pt x="2414" y="121"/>
                </a:lnTo>
                <a:lnTo>
                  <a:pt x="2467" y="103"/>
                </a:lnTo>
                <a:lnTo>
                  <a:pt x="2522" y="87"/>
                </a:lnTo>
                <a:lnTo>
                  <a:pt x="2577" y="72"/>
                </a:lnTo>
                <a:lnTo>
                  <a:pt x="2632" y="59"/>
                </a:lnTo>
                <a:lnTo>
                  <a:pt x="2688" y="47"/>
                </a:lnTo>
                <a:lnTo>
                  <a:pt x="2744" y="36"/>
                </a:lnTo>
                <a:lnTo>
                  <a:pt x="2801" y="26"/>
                </a:lnTo>
                <a:lnTo>
                  <a:pt x="2858" y="18"/>
                </a:lnTo>
                <a:lnTo>
                  <a:pt x="2916" y="12"/>
                </a:lnTo>
                <a:lnTo>
                  <a:pt x="2974" y="7"/>
                </a:lnTo>
                <a:lnTo>
                  <a:pt x="3033" y="3"/>
                </a:lnTo>
                <a:lnTo>
                  <a:pt x="3092" y="1"/>
                </a:lnTo>
                <a:lnTo>
                  <a:pt x="3151" y="0"/>
                </a:lnTo>
                <a:lnTo>
                  <a:pt x="3463" y="0"/>
                </a:lnTo>
                <a:lnTo>
                  <a:pt x="3463" y="416"/>
                </a:lnTo>
                <a:lnTo>
                  <a:pt x="3463" y="834"/>
                </a:lnTo>
                <a:lnTo>
                  <a:pt x="3445" y="833"/>
                </a:lnTo>
                <a:lnTo>
                  <a:pt x="3422" y="832"/>
                </a:lnTo>
                <a:lnTo>
                  <a:pt x="3390" y="831"/>
                </a:lnTo>
                <a:lnTo>
                  <a:pt x="3349" y="830"/>
                </a:lnTo>
                <a:lnTo>
                  <a:pt x="3298" y="829"/>
                </a:lnTo>
                <a:lnTo>
                  <a:pt x="3239" y="829"/>
                </a:lnTo>
                <a:lnTo>
                  <a:pt x="3170" y="8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8652284" y="6273317"/>
            <a:ext cx="2376264" cy="584684"/>
            <a:chOff x="8652284" y="6273317"/>
            <a:chExt cx="2376264" cy="584684"/>
          </a:xfrm>
        </p:grpSpPr>
        <p:sp>
          <p:nvSpPr>
            <p:cNvPr id="11" name="Round Same Side Corner Rectangle 10"/>
            <p:cNvSpPr/>
            <p:nvPr userDrawn="1"/>
          </p:nvSpPr>
          <p:spPr>
            <a:xfrm>
              <a:off x="8652284" y="6273317"/>
              <a:ext cx="2376264" cy="584684"/>
            </a:xfrm>
            <a:prstGeom prst="round2SameRect">
              <a:avLst>
                <a:gd name="adj1" fmla="val 5567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i-FI"/>
            </a:p>
          </p:txBody>
        </p:sp>
        <p:sp>
          <p:nvSpPr>
            <p:cNvPr id="30" name="Freeform 26"/>
            <p:cNvSpPr>
              <a:spLocks noEditPoints="1"/>
            </p:cNvSpPr>
            <p:nvPr userDrawn="1"/>
          </p:nvSpPr>
          <p:spPr bwMode="auto">
            <a:xfrm>
              <a:off x="9315323" y="6471960"/>
              <a:ext cx="1045515" cy="247226"/>
            </a:xfrm>
            <a:custGeom>
              <a:avLst/>
              <a:gdLst>
                <a:gd name="T0" fmla="*/ 975 w 1109"/>
                <a:gd name="T1" fmla="*/ 4 h 263"/>
                <a:gd name="T2" fmla="*/ 897 w 1109"/>
                <a:gd name="T3" fmla="*/ 4 h 263"/>
                <a:gd name="T4" fmla="*/ 779 w 1109"/>
                <a:gd name="T5" fmla="*/ 260 h 263"/>
                <a:gd name="T6" fmla="*/ 696 w 1109"/>
                <a:gd name="T7" fmla="*/ 219 h 263"/>
                <a:gd name="T8" fmla="*/ 705 w 1109"/>
                <a:gd name="T9" fmla="*/ 175 h 263"/>
                <a:gd name="T10" fmla="*/ 691 w 1109"/>
                <a:gd name="T11" fmla="*/ 145 h 263"/>
                <a:gd name="T12" fmla="*/ 683 w 1109"/>
                <a:gd name="T13" fmla="*/ 107 h 263"/>
                <a:gd name="T14" fmla="*/ 700 w 1109"/>
                <a:gd name="T15" fmla="*/ 81 h 263"/>
                <a:gd name="T16" fmla="*/ 693 w 1109"/>
                <a:gd name="T17" fmla="*/ 44 h 263"/>
                <a:gd name="T18" fmla="*/ 741 w 1109"/>
                <a:gd name="T19" fmla="*/ 81 h 263"/>
                <a:gd name="T20" fmla="*/ 715 w 1109"/>
                <a:gd name="T21" fmla="*/ 123 h 263"/>
                <a:gd name="T22" fmla="*/ 744 w 1109"/>
                <a:gd name="T23" fmla="*/ 159 h 263"/>
                <a:gd name="T24" fmla="*/ 742 w 1109"/>
                <a:gd name="T25" fmla="*/ 225 h 263"/>
                <a:gd name="T26" fmla="*/ 716 w 1109"/>
                <a:gd name="T27" fmla="*/ 253 h 263"/>
                <a:gd name="T28" fmla="*/ 621 w 1109"/>
                <a:gd name="T29" fmla="*/ 4 h 263"/>
                <a:gd name="T30" fmla="*/ 718 w 1109"/>
                <a:gd name="T31" fmla="*/ 12 h 263"/>
                <a:gd name="T32" fmla="*/ 740 w 1109"/>
                <a:gd name="T33" fmla="*/ 43 h 263"/>
                <a:gd name="T34" fmla="*/ 506 w 1109"/>
                <a:gd name="T35" fmla="*/ 214 h 263"/>
                <a:gd name="T36" fmla="*/ 529 w 1109"/>
                <a:gd name="T37" fmla="*/ 226 h 263"/>
                <a:gd name="T38" fmla="*/ 546 w 1109"/>
                <a:gd name="T39" fmla="*/ 200 h 263"/>
                <a:gd name="T40" fmla="*/ 537 w 1109"/>
                <a:gd name="T41" fmla="*/ 41 h 263"/>
                <a:gd name="T42" fmla="*/ 510 w 1109"/>
                <a:gd name="T43" fmla="*/ 43 h 263"/>
                <a:gd name="T44" fmla="*/ 464 w 1109"/>
                <a:gd name="T45" fmla="*/ 58 h 263"/>
                <a:gd name="T46" fmla="*/ 479 w 1109"/>
                <a:gd name="T47" fmla="*/ 17 h 263"/>
                <a:gd name="T48" fmla="*/ 518 w 1109"/>
                <a:gd name="T49" fmla="*/ 0 h 263"/>
                <a:gd name="T50" fmla="*/ 562 w 1109"/>
                <a:gd name="T51" fmla="*/ 10 h 263"/>
                <a:gd name="T52" fmla="*/ 583 w 1109"/>
                <a:gd name="T53" fmla="*/ 44 h 263"/>
                <a:gd name="T54" fmla="*/ 583 w 1109"/>
                <a:gd name="T55" fmla="*/ 219 h 263"/>
                <a:gd name="T56" fmla="*/ 562 w 1109"/>
                <a:gd name="T57" fmla="*/ 253 h 263"/>
                <a:gd name="T58" fmla="*/ 518 w 1109"/>
                <a:gd name="T59" fmla="*/ 262 h 263"/>
                <a:gd name="T60" fmla="*/ 479 w 1109"/>
                <a:gd name="T61" fmla="*/ 246 h 263"/>
                <a:gd name="T62" fmla="*/ 464 w 1109"/>
                <a:gd name="T63" fmla="*/ 206 h 263"/>
                <a:gd name="T64" fmla="*/ 391 w 1109"/>
                <a:gd name="T65" fmla="*/ 260 h 263"/>
                <a:gd name="T66" fmla="*/ 259 w 1109"/>
                <a:gd name="T67" fmla="*/ 4 h 263"/>
                <a:gd name="T68" fmla="*/ 151 w 1109"/>
                <a:gd name="T69" fmla="*/ 114 h 263"/>
                <a:gd name="T70" fmla="*/ 97 w 1109"/>
                <a:gd name="T71" fmla="*/ 10 h 263"/>
                <a:gd name="T72" fmla="*/ 118 w 1109"/>
                <a:gd name="T73" fmla="*/ 44 h 263"/>
                <a:gd name="T74" fmla="*/ 82 w 1109"/>
                <a:gd name="T75" fmla="*/ 57 h 263"/>
                <a:gd name="T76" fmla="*/ 66 w 1109"/>
                <a:gd name="T77" fmla="*/ 37 h 263"/>
                <a:gd name="T78" fmla="*/ 44 w 1109"/>
                <a:gd name="T79" fmla="*/ 48 h 263"/>
                <a:gd name="T80" fmla="*/ 49 w 1109"/>
                <a:gd name="T81" fmla="*/ 88 h 263"/>
                <a:gd name="T82" fmla="*/ 102 w 1109"/>
                <a:gd name="T83" fmla="*/ 144 h 263"/>
                <a:gd name="T84" fmla="*/ 120 w 1109"/>
                <a:gd name="T85" fmla="*/ 184 h 263"/>
                <a:gd name="T86" fmla="*/ 115 w 1109"/>
                <a:gd name="T87" fmla="*/ 231 h 263"/>
                <a:gd name="T88" fmla="*/ 86 w 1109"/>
                <a:gd name="T89" fmla="*/ 257 h 263"/>
                <a:gd name="T90" fmla="*/ 41 w 1109"/>
                <a:gd name="T91" fmla="*/ 260 h 263"/>
                <a:gd name="T92" fmla="*/ 9 w 1109"/>
                <a:gd name="T93" fmla="*/ 236 h 263"/>
                <a:gd name="T94" fmla="*/ 0 w 1109"/>
                <a:gd name="T95" fmla="*/ 182 h 263"/>
                <a:gd name="T96" fmla="*/ 47 w 1109"/>
                <a:gd name="T97" fmla="*/ 223 h 263"/>
                <a:gd name="T98" fmla="*/ 74 w 1109"/>
                <a:gd name="T99" fmla="*/ 219 h 263"/>
                <a:gd name="T100" fmla="*/ 77 w 1109"/>
                <a:gd name="T101" fmla="*/ 182 h 263"/>
                <a:gd name="T102" fmla="*/ 27 w 1109"/>
                <a:gd name="T103" fmla="*/ 126 h 263"/>
                <a:gd name="T104" fmla="*/ 4 w 1109"/>
                <a:gd name="T105" fmla="*/ 84 h 263"/>
                <a:gd name="T106" fmla="*/ 6 w 1109"/>
                <a:gd name="T107" fmla="*/ 37 h 263"/>
                <a:gd name="T108" fmla="*/ 30 w 1109"/>
                <a:gd name="T109" fmla="*/ 8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9" h="263">
                  <a:moveTo>
                    <a:pt x="1069" y="4"/>
                  </a:moveTo>
                  <a:lnTo>
                    <a:pt x="1109" y="4"/>
                  </a:lnTo>
                  <a:lnTo>
                    <a:pt x="1109" y="260"/>
                  </a:lnTo>
                  <a:lnTo>
                    <a:pt x="1069" y="260"/>
                  </a:lnTo>
                  <a:lnTo>
                    <a:pt x="1069" y="4"/>
                  </a:lnTo>
                  <a:close/>
                  <a:moveTo>
                    <a:pt x="935" y="4"/>
                  </a:moveTo>
                  <a:lnTo>
                    <a:pt x="975" y="4"/>
                  </a:lnTo>
                  <a:lnTo>
                    <a:pt x="975" y="223"/>
                  </a:lnTo>
                  <a:lnTo>
                    <a:pt x="1042" y="223"/>
                  </a:lnTo>
                  <a:lnTo>
                    <a:pt x="1042" y="260"/>
                  </a:lnTo>
                  <a:lnTo>
                    <a:pt x="935" y="260"/>
                  </a:lnTo>
                  <a:lnTo>
                    <a:pt x="935" y="4"/>
                  </a:lnTo>
                  <a:close/>
                  <a:moveTo>
                    <a:pt x="857" y="4"/>
                  </a:moveTo>
                  <a:lnTo>
                    <a:pt x="897" y="4"/>
                  </a:lnTo>
                  <a:lnTo>
                    <a:pt x="897" y="260"/>
                  </a:lnTo>
                  <a:lnTo>
                    <a:pt x="857" y="260"/>
                  </a:lnTo>
                  <a:lnTo>
                    <a:pt x="857" y="4"/>
                  </a:lnTo>
                  <a:close/>
                  <a:moveTo>
                    <a:pt x="779" y="4"/>
                  </a:moveTo>
                  <a:lnTo>
                    <a:pt x="819" y="4"/>
                  </a:lnTo>
                  <a:lnTo>
                    <a:pt x="819" y="260"/>
                  </a:lnTo>
                  <a:lnTo>
                    <a:pt x="779" y="260"/>
                  </a:lnTo>
                  <a:lnTo>
                    <a:pt x="779" y="4"/>
                  </a:lnTo>
                  <a:close/>
                  <a:moveTo>
                    <a:pt x="661" y="144"/>
                  </a:moveTo>
                  <a:lnTo>
                    <a:pt x="661" y="223"/>
                  </a:lnTo>
                  <a:lnTo>
                    <a:pt x="685" y="223"/>
                  </a:lnTo>
                  <a:lnTo>
                    <a:pt x="689" y="223"/>
                  </a:lnTo>
                  <a:lnTo>
                    <a:pt x="693" y="221"/>
                  </a:lnTo>
                  <a:lnTo>
                    <a:pt x="696" y="219"/>
                  </a:lnTo>
                  <a:lnTo>
                    <a:pt x="699" y="217"/>
                  </a:lnTo>
                  <a:lnTo>
                    <a:pt x="702" y="214"/>
                  </a:lnTo>
                  <a:lnTo>
                    <a:pt x="703" y="212"/>
                  </a:lnTo>
                  <a:lnTo>
                    <a:pt x="704" y="210"/>
                  </a:lnTo>
                  <a:lnTo>
                    <a:pt x="705" y="205"/>
                  </a:lnTo>
                  <a:lnTo>
                    <a:pt x="705" y="197"/>
                  </a:lnTo>
                  <a:lnTo>
                    <a:pt x="705" y="175"/>
                  </a:lnTo>
                  <a:lnTo>
                    <a:pt x="705" y="168"/>
                  </a:lnTo>
                  <a:lnTo>
                    <a:pt x="704" y="160"/>
                  </a:lnTo>
                  <a:lnTo>
                    <a:pt x="702" y="155"/>
                  </a:lnTo>
                  <a:lnTo>
                    <a:pt x="698" y="151"/>
                  </a:lnTo>
                  <a:lnTo>
                    <a:pt x="697" y="150"/>
                  </a:lnTo>
                  <a:lnTo>
                    <a:pt x="695" y="147"/>
                  </a:lnTo>
                  <a:lnTo>
                    <a:pt x="691" y="145"/>
                  </a:lnTo>
                  <a:lnTo>
                    <a:pt x="686" y="144"/>
                  </a:lnTo>
                  <a:lnTo>
                    <a:pt x="679" y="144"/>
                  </a:lnTo>
                  <a:lnTo>
                    <a:pt x="661" y="144"/>
                  </a:lnTo>
                  <a:close/>
                  <a:moveTo>
                    <a:pt x="661" y="41"/>
                  </a:moveTo>
                  <a:lnTo>
                    <a:pt x="661" y="107"/>
                  </a:lnTo>
                  <a:lnTo>
                    <a:pt x="677" y="107"/>
                  </a:lnTo>
                  <a:lnTo>
                    <a:pt x="683" y="107"/>
                  </a:lnTo>
                  <a:lnTo>
                    <a:pt x="687" y="106"/>
                  </a:lnTo>
                  <a:lnTo>
                    <a:pt x="691" y="104"/>
                  </a:lnTo>
                  <a:lnTo>
                    <a:pt x="694" y="102"/>
                  </a:lnTo>
                  <a:lnTo>
                    <a:pt x="697" y="98"/>
                  </a:lnTo>
                  <a:lnTo>
                    <a:pt x="699" y="94"/>
                  </a:lnTo>
                  <a:lnTo>
                    <a:pt x="700" y="88"/>
                  </a:lnTo>
                  <a:lnTo>
                    <a:pt x="700" y="81"/>
                  </a:lnTo>
                  <a:lnTo>
                    <a:pt x="700" y="66"/>
                  </a:lnTo>
                  <a:lnTo>
                    <a:pt x="700" y="60"/>
                  </a:lnTo>
                  <a:lnTo>
                    <a:pt x="699" y="54"/>
                  </a:lnTo>
                  <a:lnTo>
                    <a:pt x="699" y="52"/>
                  </a:lnTo>
                  <a:lnTo>
                    <a:pt x="698" y="50"/>
                  </a:lnTo>
                  <a:lnTo>
                    <a:pt x="696" y="46"/>
                  </a:lnTo>
                  <a:lnTo>
                    <a:pt x="693" y="44"/>
                  </a:lnTo>
                  <a:lnTo>
                    <a:pt x="690" y="42"/>
                  </a:lnTo>
                  <a:lnTo>
                    <a:pt x="686" y="41"/>
                  </a:lnTo>
                  <a:lnTo>
                    <a:pt x="680" y="41"/>
                  </a:lnTo>
                  <a:lnTo>
                    <a:pt x="661" y="41"/>
                  </a:lnTo>
                  <a:close/>
                  <a:moveTo>
                    <a:pt x="741" y="63"/>
                  </a:moveTo>
                  <a:lnTo>
                    <a:pt x="741" y="71"/>
                  </a:lnTo>
                  <a:lnTo>
                    <a:pt x="741" y="81"/>
                  </a:lnTo>
                  <a:lnTo>
                    <a:pt x="740" y="89"/>
                  </a:lnTo>
                  <a:lnTo>
                    <a:pt x="738" y="97"/>
                  </a:lnTo>
                  <a:lnTo>
                    <a:pt x="735" y="104"/>
                  </a:lnTo>
                  <a:lnTo>
                    <a:pt x="731" y="110"/>
                  </a:lnTo>
                  <a:lnTo>
                    <a:pt x="727" y="115"/>
                  </a:lnTo>
                  <a:lnTo>
                    <a:pt x="722" y="120"/>
                  </a:lnTo>
                  <a:lnTo>
                    <a:pt x="715" y="123"/>
                  </a:lnTo>
                  <a:lnTo>
                    <a:pt x="723" y="126"/>
                  </a:lnTo>
                  <a:lnTo>
                    <a:pt x="726" y="128"/>
                  </a:lnTo>
                  <a:lnTo>
                    <a:pt x="729" y="132"/>
                  </a:lnTo>
                  <a:lnTo>
                    <a:pt x="734" y="137"/>
                  </a:lnTo>
                  <a:lnTo>
                    <a:pt x="739" y="143"/>
                  </a:lnTo>
                  <a:lnTo>
                    <a:pt x="742" y="151"/>
                  </a:lnTo>
                  <a:lnTo>
                    <a:pt x="744" y="159"/>
                  </a:lnTo>
                  <a:lnTo>
                    <a:pt x="745" y="169"/>
                  </a:lnTo>
                  <a:lnTo>
                    <a:pt x="745" y="178"/>
                  </a:lnTo>
                  <a:lnTo>
                    <a:pt x="745" y="198"/>
                  </a:lnTo>
                  <a:lnTo>
                    <a:pt x="745" y="206"/>
                  </a:lnTo>
                  <a:lnTo>
                    <a:pt x="744" y="213"/>
                  </a:lnTo>
                  <a:lnTo>
                    <a:pt x="743" y="219"/>
                  </a:lnTo>
                  <a:lnTo>
                    <a:pt x="742" y="225"/>
                  </a:lnTo>
                  <a:lnTo>
                    <a:pt x="740" y="230"/>
                  </a:lnTo>
                  <a:lnTo>
                    <a:pt x="736" y="235"/>
                  </a:lnTo>
                  <a:lnTo>
                    <a:pt x="733" y="239"/>
                  </a:lnTo>
                  <a:lnTo>
                    <a:pt x="730" y="244"/>
                  </a:lnTo>
                  <a:lnTo>
                    <a:pt x="726" y="248"/>
                  </a:lnTo>
                  <a:lnTo>
                    <a:pt x="721" y="250"/>
                  </a:lnTo>
                  <a:lnTo>
                    <a:pt x="716" y="253"/>
                  </a:lnTo>
                  <a:lnTo>
                    <a:pt x="711" y="255"/>
                  </a:lnTo>
                  <a:lnTo>
                    <a:pt x="705" y="257"/>
                  </a:lnTo>
                  <a:lnTo>
                    <a:pt x="698" y="259"/>
                  </a:lnTo>
                  <a:lnTo>
                    <a:pt x="691" y="260"/>
                  </a:lnTo>
                  <a:lnTo>
                    <a:pt x="685" y="260"/>
                  </a:lnTo>
                  <a:lnTo>
                    <a:pt x="621" y="260"/>
                  </a:lnTo>
                  <a:lnTo>
                    <a:pt x="621" y="4"/>
                  </a:lnTo>
                  <a:lnTo>
                    <a:pt x="681" y="4"/>
                  </a:lnTo>
                  <a:lnTo>
                    <a:pt x="689" y="4"/>
                  </a:lnTo>
                  <a:lnTo>
                    <a:pt x="696" y="5"/>
                  </a:lnTo>
                  <a:lnTo>
                    <a:pt x="703" y="6"/>
                  </a:lnTo>
                  <a:lnTo>
                    <a:pt x="709" y="7"/>
                  </a:lnTo>
                  <a:lnTo>
                    <a:pt x="714" y="9"/>
                  </a:lnTo>
                  <a:lnTo>
                    <a:pt x="718" y="12"/>
                  </a:lnTo>
                  <a:lnTo>
                    <a:pt x="723" y="15"/>
                  </a:lnTo>
                  <a:lnTo>
                    <a:pt x="727" y="18"/>
                  </a:lnTo>
                  <a:lnTo>
                    <a:pt x="730" y="22"/>
                  </a:lnTo>
                  <a:lnTo>
                    <a:pt x="733" y="27"/>
                  </a:lnTo>
                  <a:lnTo>
                    <a:pt x="735" y="31"/>
                  </a:lnTo>
                  <a:lnTo>
                    <a:pt x="738" y="36"/>
                  </a:lnTo>
                  <a:lnTo>
                    <a:pt x="740" y="43"/>
                  </a:lnTo>
                  <a:lnTo>
                    <a:pt x="741" y="48"/>
                  </a:lnTo>
                  <a:lnTo>
                    <a:pt x="741" y="55"/>
                  </a:lnTo>
                  <a:lnTo>
                    <a:pt x="741" y="63"/>
                  </a:lnTo>
                  <a:close/>
                  <a:moveTo>
                    <a:pt x="504" y="200"/>
                  </a:moveTo>
                  <a:lnTo>
                    <a:pt x="505" y="207"/>
                  </a:lnTo>
                  <a:lnTo>
                    <a:pt x="506" y="212"/>
                  </a:lnTo>
                  <a:lnTo>
                    <a:pt x="506" y="214"/>
                  </a:lnTo>
                  <a:lnTo>
                    <a:pt x="507" y="216"/>
                  </a:lnTo>
                  <a:lnTo>
                    <a:pt x="510" y="220"/>
                  </a:lnTo>
                  <a:lnTo>
                    <a:pt x="512" y="223"/>
                  </a:lnTo>
                  <a:lnTo>
                    <a:pt x="516" y="225"/>
                  </a:lnTo>
                  <a:lnTo>
                    <a:pt x="521" y="226"/>
                  </a:lnTo>
                  <a:lnTo>
                    <a:pt x="525" y="226"/>
                  </a:lnTo>
                  <a:lnTo>
                    <a:pt x="529" y="226"/>
                  </a:lnTo>
                  <a:lnTo>
                    <a:pt x="533" y="225"/>
                  </a:lnTo>
                  <a:lnTo>
                    <a:pt x="537" y="223"/>
                  </a:lnTo>
                  <a:lnTo>
                    <a:pt x="540" y="220"/>
                  </a:lnTo>
                  <a:lnTo>
                    <a:pt x="543" y="216"/>
                  </a:lnTo>
                  <a:lnTo>
                    <a:pt x="544" y="212"/>
                  </a:lnTo>
                  <a:lnTo>
                    <a:pt x="545" y="207"/>
                  </a:lnTo>
                  <a:lnTo>
                    <a:pt x="546" y="200"/>
                  </a:lnTo>
                  <a:lnTo>
                    <a:pt x="546" y="63"/>
                  </a:lnTo>
                  <a:lnTo>
                    <a:pt x="545" y="57"/>
                  </a:lnTo>
                  <a:lnTo>
                    <a:pt x="544" y="51"/>
                  </a:lnTo>
                  <a:lnTo>
                    <a:pt x="543" y="48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37" y="41"/>
                  </a:lnTo>
                  <a:lnTo>
                    <a:pt x="533" y="39"/>
                  </a:lnTo>
                  <a:lnTo>
                    <a:pt x="529" y="37"/>
                  </a:lnTo>
                  <a:lnTo>
                    <a:pt x="525" y="37"/>
                  </a:lnTo>
                  <a:lnTo>
                    <a:pt x="521" y="37"/>
                  </a:lnTo>
                  <a:lnTo>
                    <a:pt x="516" y="39"/>
                  </a:lnTo>
                  <a:lnTo>
                    <a:pt x="512" y="41"/>
                  </a:lnTo>
                  <a:lnTo>
                    <a:pt x="510" y="43"/>
                  </a:lnTo>
                  <a:lnTo>
                    <a:pt x="507" y="46"/>
                  </a:lnTo>
                  <a:lnTo>
                    <a:pt x="506" y="51"/>
                  </a:lnTo>
                  <a:lnTo>
                    <a:pt x="505" y="57"/>
                  </a:lnTo>
                  <a:lnTo>
                    <a:pt x="504" y="63"/>
                  </a:lnTo>
                  <a:lnTo>
                    <a:pt x="504" y="200"/>
                  </a:lnTo>
                  <a:close/>
                  <a:moveTo>
                    <a:pt x="464" y="65"/>
                  </a:moveTo>
                  <a:lnTo>
                    <a:pt x="464" y="58"/>
                  </a:lnTo>
                  <a:lnTo>
                    <a:pt x="465" y="50"/>
                  </a:lnTo>
                  <a:lnTo>
                    <a:pt x="466" y="44"/>
                  </a:lnTo>
                  <a:lnTo>
                    <a:pt x="468" y="37"/>
                  </a:lnTo>
                  <a:lnTo>
                    <a:pt x="470" y="32"/>
                  </a:lnTo>
                  <a:lnTo>
                    <a:pt x="473" y="27"/>
                  </a:lnTo>
                  <a:lnTo>
                    <a:pt x="476" y="22"/>
                  </a:lnTo>
                  <a:lnTo>
                    <a:pt x="479" y="17"/>
                  </a:lnTo>
                  <a:lnTo>
                    <a:pt x="484" y="13"/>
                  </a:lnTo>
                  <a:lnTo>
                    <a:pt x="488" y="10"/>
                  </a:lnTo>
                  <a:lnTo>
                    <a:pt x="493" y="8"/>
                  </a:lnTo>
                  <a:lnTo>
                    <a:pt x="499" y="5"/>
                  </a:lnTo>
                  <a:lnTo>
                    <a:pt x="505" y="3"/>
                  </a:lnTo>
                  <a:lnTo>
                    <a:pt x="511" y="2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9" y="2"/>
                  </a:lnTo>
                  <a:lnTo>
                    <a:pt x="545" y="3"/>
                  </a:lnTo>
                  <a:lnTo>
                    <a:pt x="551" y="5"/>
                  </a:lnTo>
                  <a:lnTo>
                    <a:pt x="557" y="8"/>
                  </a:lnTo>
                  <a:lnTo>
                    <a:pt x="562" y="10"/>
                  </a:lnTo>
                  <a:lnTo>
                    <a:pt x="566" y="13"/>
                  </a:lnTo>
                  <a:lnTo>
                    <a:pt x="570" y="17"/>
                  </a:lnTo>
                  <a:lnTo>
                    <a:pt x="574" y="22"/>
                  </a:lnTo>
                  <a:lnTo>
                    <a:pt x="577" y="27"/>
                  </a:lnTo>
                  <a:lnTo>
                    <a:pt x="580" y="32"/>
                  </a:lnTo>
                  <a:lnTo>
                    <a:pt x="582" y="37"/>
                  </a:lnTo>
                  <a:lnTo>
                    <a:pt x="583" y="44"/>
                  </a:lnTo>
                  <a:lnTo>
                    <a:pt x="585" y="50"/>
                  </a:lnTo>
                  <a:lnTo>
                    <a:pt x="585" y="58"/>
                  </a:lnTo>
                  <a:lnTo>
                    <a:pt x="586" y="65"/>
                  </a:lnTo>
                  <a:lnTo>
                    <a:pt x="586" y="198"/>
                  </a:lnTo>
                  <a:lnTo>
                    <a:pt x="585" y="206"/>
                  </a:lnTo>
                  <a:lnTo>
                    <a:pt x="585" y="212"/>
                  </a:lnTo>
                  <a:lnTo>
                    <a:pt x="583" y="219"/>
                  </a:lnTo>
                  <a:lnTo>
                    <a:pt x="582" y="226"/>
                  </a:lnTo>
                  <a:lnTo>
                    <a:pt x="580" y="231"/>
                  </a:lnTo>
                  <a:lnTo>
                    <a:pt x="577" y="236"/>
                  </a:lnTo>
                  <a:lnTo>
                    <a:pt x="574" y="242"/>
                  </a:lnTo>
                  <a:lnTo>
                    <a:pt x="570" y="246"/>
                  </a:lnTo>
                  <a:lnTo>
                    <a:pt x="566" y="249"/>
                  </a:lnTo>
                  <a:lnTo>
                    <a:pt x="562" y="253"/>
                  </a:lnTo>
                  <a:lnTo>
                    <a:pt x="557" y="255"/>
                  </a:lnTo>
                  <a:lnTo>
                    <a:pt x="551" y="257"/>
                  </a:lnTo>
                  <a:lnTo>
                    <a:pt x="545" y="260"/>
                  </a:lnTo>
                  <a:lnTo>
                    <a:pt x="539" y="262"/>
                  </a:lnTo>
                  <a:lnTo>
                    <a:pt x="532" y="262"/>
                  </a:lnTo>
                  <a:lnTo>
                    <a:pt x="525" y="263"/>
                  </a:lnTo>
                  <a:lnTo>
                    <a:pt x="518" y="262"/>
                  </a:lnTo>
                  <a:lnTo>
                    <a:pt x="511" y="262"/>
                  </a:lnTo>
                  <a:lnTo>
                    <a:pt x="505" y="260"/>
                  </a:lnTo>
                  <a:lnTo>
                    <a:pt x="499" y="257"/>
                  </a:lnTo>
                  <a:lnTo>
                    <a:pt x="493" y="255"/>
                  </a:lnTo>
                  <a:lnTo>
                    <a:pt x="488" y="253"/>
                  </a:lnTo>
                  <a:lnTo>
                    <a:pt x="484" y="249"/>
                  </a:lnTo>
                  <a:lnTo>
                    <a:pt x="479" y="246"/>
                  </a:lnTo>
                  <a:lnTo>
                    <a:pt x="476" y="242"/>
                  </a:lnTo>
                  <a:lnTo>
                    <a:pt x="473" y="236"/>
                  </a:lnTo>
                  <a:lnTo>
                    <a:pt x="470" y="231"/>
                  </a:lnTo>
                  <a:lnTo>
                    <a:pt x="468" y="226"/>
                  </a:lnTo>
                  <a:lnTo>
                    <a:pt x="466" y="219"/>
                  </a:lnTo>
                  <a:lnTo>
                    <a:pt x="465" y="212"/>
                  </a:lnTo>
                  <a:lnTo>
                    <a:pt x="464" y="206"/>
                  </a:lnTo>
                  <a:lnTo>
                    <a:pt x="464" y="198"/>
                  </a:lnTo>
                  <a:lnTo>
                    <a:pt x="464" y="65"/>
                  </a:lnTo>
                  <a:close/>
                  <a:moveTo>
                    <a:pt x="345" y="186"/>
                  </a:moveTo>
                  <a:lnTo>
                    <a:pt x="373" y="4"/>
                  </a:lnTo>
                  <a:lnTo>
                    <a:pt x="429" y="4"/>
                  </a:lnTo>
                  <a:lnTo>
                    <a:pt x="429" y="260"/>
                  </a:lnTo>
                  <a:lnTo>
                    <a:pt x="391" y="260"/>
                  </a:lnTo>
                  <a:lnTo>
                    <a:pt x="391" y="76"/>
                  </a:lnTo>
                  <a:lnTo>
                    <a:pt x="363" y="260"/>
                  </a:lnTo>
                  <a:lnTo>
                    <a:pt x="325" y="260"/>
                  </a:lnTo>
                  <a:lnTo>
                    <a:pt x="295" y="79"/>
                  </a:lnTo>
                  <a:lnTo>
                    <a:pt x="295" y="260"/>
                  </a:lnTo>
                  <a:lnTo>
                    <a:pt x="259" y="260"/>
                  </a:lnTo>
                  <a:lnTo>
                    <a:pt x="259" y="4"/>
                  </a:lnTo>
                  <a:lnTo>
                    <a:pt x="316" y="4"/>
                  </a:lnTo>
                  <a:lnTo>
                    <a:pt x="345" y="186"/>
                  </a:lnTo>
                  <a:close/>
                  <a:moveTo>
                    <a:pt x="151" y="114"/>
                  </a:moveTo>
                  <a:lnTo>
                    <a:pt x="224" y="114"/>
                  </a:lnTo>
                  <a:lnTo>
                    <a:pt x="224" y="150"/>
                  </a:lnTo>
                  <a:lnTo>
                    <a:pt x="151" y="150"/>
                  </a:lnTo>
                  <a:lnTo>
                    <a:pt x="151" y="114"/>
                  </a:lnTo>
                  <a:close/>
                  <a:moveTo>
                    <a:pt x="61" y="0"/>
                  </a:moveTo>
                  <a:lnTo>
                    <a:pt x="68" y="0"/>
                  </a:lnTo>
                  <a:lnTo>
                    <a:pt x="74" y="2"/>
                  </a:lnTo>
                  <a:lnTo>
                    <a:pt x="81" y="3"/>
                  </a:lnTo>
                  <a:lnTo>
                    <a:pt x="86" y="5"/>
                  </a:lnTo>
                  <a:lnTo>
                    <a:pt x="91" y="8"/>
                  </a:lnTo>
                  <a:lnTo>
                    <a:pt x="97" y="10"/>
                  </a:lnTo>
                  <a:lnTo>
                    <a:pt x="101" y="13"/>
                  </a:lnTo>
                  <a:lnTo>
                    <a:pt x="105" y="17"/>
                  </a:lnTo>
                  <a:lnTo>
                    <a:pt x="108" y="22"/>
                  </a:lnTo>
                  <a:lnTo>
                    <a:pt x="111" y="27"/>
                  </a:lnTo>
                  <a:lnTo>
                    <a:pt x="115" y="32"/>
                  </a:lnTo>
                  <a:lnTo>
                    <a:pt x="117" y="37"/>
                  </a:lnTo>
                  <a:lnTo>
                    <a:pt x="118" y="44"/>
                  </a:lnTo>
                  <a:lnTo>
                    <a:pt x="119" y="50"/>
                  </a:lnTo>
                  <a:lnTo>
                    <a:pt x="120" y="58"/>
                  </a:lnTo>
                  <a:lnTo>
                    <a:pt x="120" y="65"/>
                  </a:lnTo>
                  <a:lnTo>
                    <a:pt x="120" y="73"/>
                  </a:lnTo>
                  <a:lnTo>
                    <a:pt x="82" y="73"/>
                  </a:lnTo>
                  <a:lnTo>
                    <a:pt x="82" y="63"/>
                  </a:lnTo>
                  <a:lnTo>
                    <a:pt x="82" y="57"/>
                  </a:lnTo>
                  <a:lnTo>
                    <a:pt x="81" y="51"/>
                  </a:lnTo>
                  <a:lnTo>
                    <a:pt x="79" y="46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70" y="39"/>
                  </a:lnTo>
                  <a:lnTo>
                    <a:pt x="66" y="37"/>
                  </a:lnTo>
                  <a:lnTo>
                    <a:pt x="62" y="37"/>
                  </a:lnTo>
                  <a:lnTo>
                    <a:pt x="58" y="37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5" y="46"/>
                  </a:lnTo>
                  <a:lnTo>
                    <a:pt x="44" y="48"/>
                  </a:lnTo>
                  <a:lnTo>
                    <a:pt x="43" y="51"/>
                  </a:lnTo>
                  <a:lnTo>
                    <a:pt x="42" y="57"/>
                  </a:lnTo>
                  <a:lnTo>
                    <a:pt x="42" y="63"/>
                  </a:lnTo>
                  <a:lnTo>
                    <a:pt x="43" y="71"/>
                  </a:lnTo>
                  <a:lnTo>
                    <a:pt x="44" y="77"/>
                  </a:lnTo>
                  <a:lnTo>
                    <a:pt x="45" y="81"/>
                  </a:lnTo>
                  <a:lnTo>
                    <a:pt x="49" y="88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67" y="109"/>
                  </a:lnTo>
                  <a:lnTo>
                    <a:pt x="81" y="122"/>
                  </a:lnTo>
                  <a:lnTo>
                    <a:pt x="88" y="129"/>
                  </a:lnTo>
                  <a:lnTo>
                    <a:pt x="96" y="137"/>
                  </a:lnTo>
                  <a:lnTo>
                    <a:pt x="102" y="144"/>
                  </a:lnTo>
                  <a:lnTo>
                    <a:pt x="105" y="149"/>
                  </a:lnTo>
                  <a:lnTo>
                    <a:pt x="108" y="154"/>
                  </a:lnTo>
                  <a:lnTo>
                    <a:pt x="114" y="163"/>
                  </a:lnTo>
                  <a:lnTo>
                    <a:pt x="116" y="168"/>
                  </a:lnTo>
                  <a:lnTo>
                    <a:pt x="117" y="173"/>
                  </a:lnTo>
                  <a:lnTo>
                    <a:pt x="119" y="179"/>
                  </a:lnTo>
                  <a:lnTo>
                    <a:pt x="120" y="184"/>
                  </a:lnTo>
                  <a:lnTo>
                    <a:pt x="120" y="191"/>
                  </a:lnTo>
                  <a:lnTo>
                    <a:pt x="120" y="198"/>
                  </a:lnTo>
                  <a:lnTo>
                    <a:pt x="120" y="206"/>
                  </a:lnTo>
                  <a:lnTo>
                    <a:pt x="120" y="212"/>
                  </a:lnTo>
                  <a:lnTo>
                    <a:pt x="118" y="219"/>
                  </a:lnTo>
                  <a:lnTo>
                    <a:pt x="117" y="226"/>
                  </a:lnTo>
                  <a:lnTo>
                    <a:pt x="115" y="231"/>
                  </a:lnTo>
                  <a:lnTo>
                    <a:pt x="111" y="236"/>
                  </a:lnTo>
                  <a:lnTo>
                    <a:pt x="108" y="242"/>
                  </a:lnTo>
                  <a:lnTo>
                    <a:pt x="105" y="246"/>
                  </a:lnTo>
                  <a:lnTo>
                    <a:pt x="101" y="249"/>
                  </a:lnTo>
                  <a:lnTo>
                    <a:pt x="97" y="253"/>
                  </a:lnTo>
                  <a:lnTo>
                    <a:pt x="91" y="255"/>
                  </a:lnTo>
                  <a:lnTo>
                    <a:pt x="86" y="257"/>
                  </a:lnTo>
                  <a:lnTo>
                    <a:pt x="81" y="260"/>
                  </a:lnTo>
                  <a:lnTo>
                    <a:pt x="74" y="262"/>
                  </a:lnTo>
                  <a:lnTo>
                    <a:pt x="68" y="262"/>
                  </a:lnTo>
                  <a:lnTo>
                    <a:pt x="61" y="263"/>
                  </a:lnTo>
                  <a:lnTo>
                    <a:pt x="53" y="262"/>
                  </a:lnTo>
                  <a:lnTo>
                    <a:pt x="47" y="262"/>
                  </a:lnTo>
                  <a:lnTo>
                    <a:pt x="41" y="260"/>
                  </a:lnTo>
                  <a:lnTo>
                    <a:pt x="34" y="257"/>
                  </a:lnTo>
                  <a:lnTo>
                    <a:pt x="29" y="255"/>
                  </a:lnTo>
                  <a:lnTo>
                    <a:pt x="24" y="253"/>
                  </a:lnTo>
                  <a:lnTo>
                    <a:pt x="19" y="249"/>
                  </a:lnTo>
                  <a:lnTo>
                    <a:pt x="15" y="246"/>
                  </a:lnTo>
                  <a:lnTo>
                    <a:pt x="12" y="242"/>
                  </a:lnTo>
                  <a:lnTo>
                    <a:pt x="9" y="236"/>
                  </a:lnTo>
                  <a:lnTo>
                    <a:pt x="7" y="231"/>
                  </a:lnTo>
                  <a:lnTo>
                    <a:pt x="5" y="226"/>
                  </a:lnTo>
                  <a:lnTo>
                    <a:pt x="3" y="219"/>
                  </a:lnTo>
                  <a:lnTo>
                    <a:pt x="1" y="212"/>
                  </a:lnTo>
                  <a:lnTo>
                    <a:pt x="0" y="206"/>
                  </a:lnTo>
                  <a:lnTo>
                    <a:pt x="0" y="198"/>
                  </a:lnTo>
                  <a:lnTo>
                    <a:pt x="0" y="182"/>
                  </a:lnTo>
                  <a:lnTo>
                    <a:pt x="38" y="182"/>
                  </a:lnTo>
                  <a:lnTo>
                    <a:pt x="38" y="200"/>
                  </a:lnTo>
                  <a:lnTo>
                    <a:pt x="38" y="207"/>
                  </a:lnTo>
                  <a:lnTo>
                    <a:pt x="40" y="212"/>
                  </a:lnTo>
                  <a:lnTo>
                    <a:pt x="42" y="216"/>
                  </a:lnTo>
                  <a:lnTo>
                    <a:pt x="44" y="219"/>
                  </a:lnTo>
                  <a:lnTo>
                    <a:pt x="47" y="223"/>
                  </a:lnTo>
                  <a:lnTo>
                    <a:pt x="51" y="224"/>
                  </a:lnTo>
                  <a:lnTo>
                    <a:pt x="54" y="225"/>
                  </a:lnTo>
                  <a:lnTo>
                    <a:pt x="60" y="226"/>
                  </a:lnTo>
                  <a:lnTo>
                    <a:pt x="64" y="225"/>
                  </a:lnTo>
                  <a:lnTo>
                    <a:pt x="68" y="224"/>
                  </a:lnTo>
                  <a:lnTo>
                    <a:pt x="71" y="223"/>
                  </a:lnTo>
                  <a:lnTo>
                    <a:pt x="74" y="219"/>
                  </a:lnTo>
                  <a:lnTo>
                    <a:pt x="77" y="216"/>
                  </a:lnTo>
                  <a:lnTo>
                    <a:pt x="79" y="212"/>
                  </a:lnTo>
                  <a:lnTo>
                    <a:pt x="80" y="207"/>
                  </a:lnTo>
                  <a:lnTo>
                    <a:pt x="80" y="200"/>
                  </a:lnTo>
                  <a:lnTo>
                    <a:pt x="80" y="191"/>
                  </a:lnTo>
                  <a:lnTo>
                    <a:pt x="79" y="187"/>
                  </a:lnTo>
                  <a:lnTo>
                    <a:pt x="77" y="182"/>
                  </a:lnTo>
                  <a:lnTo>
                    <a:pt x="73" y="175"/>
                  </a:lnTo>
                  <a:lnTo>
                    <a:pt x="68" y="168"/>
                  </a:lnTo>
                  <a:lnTo>
                    <a:pt x="62" y="160"/>
                  </a:lnTo>
                  <a:lnTo>
                    <a:pt x="55" y="154"/>
                  </a:lnTo>
                  <a:lnTo>
                    <a:pt x="41" y="140"/>
                  </a:lnTo>
                  <a:lnTo>
                    <a:pt x="33" y="134"/>
                  </a:lnTo>
                  <a:lnTo>
                    <a:pt x="27" y="126"/>
                  </a:lnTo>
                  <a:lnTo>
                    <a:pt x="19" y="118"/>
                  </a:lnTo>
                  <a:lnTo>
                    <a:pt x="16" y="114"/>
                  </a:lnTo>
                  <a:lnTo>
                    <a:pt x="14" y="109"/>
                  </a:lnTo>
                  <a:lnTo>
                    <a:pt x="9" y="100"/>
                  </a:lnTo>
                  <a:lnTo>
                    <a:pt x="7" y="95"/>
                  </a:lnTo>
                  <a:lnTo>
                    <a:pt x="5" y="89"/>
                  </a:lnTo>
                  <a:lnTo>
                    <a:pt x="4" y="84"/>
                  </a:lnTo>
                  <a:lnTo>
                    <a:pt x="3" y="78"/>
                  </a:lnTo>
                  <a:lnTo>
                    <a:pt x="1" y="71"/>
                  </a:lnTo>
                  <a:lnTo>
                    <a:pt x="1" y="65"/>
                  </a:lnTo>
                  <a:lnTo>
                    <a:pt x="1" y="58"/>
                  </a:lnTo>
                  <a:lnTo>
                    <a:pt x="3" y="50"/>
                  </a:lnTo>
                  <a:lnTo>
                    <a:pt x="4" y="44"/>
                  </a:lnTo>
                  <a:lnTo>
                    <a:pt x="6" y="37"/>
                  </a:lnTo>
                  <a:lnTo>
                    <a:pt x="8" y="32"/>
                  </a:lnTo>
                  <a:lnTo>
                    <a:pt x="10" y="27"/>
                  </a:lnTo>
                  <a:lnTo>
                    <a:pt x="13" y="22"/>
                  </a:lnTo>
                  <a:lnTo>
                    <a:pt x="16" y="17"/>
                  </a:lnTo>
                  <a:lnTo>
                    <a:pt x="20" y="13"/>
                  </a:lnTo>
                  <a:lnTo>
                    <a:pt x="25" y="10"/>
                  </a:lnTo>
                  <a:lnTo>
                    <a:pt x="30" y="8"/>
                  </a:lnTo>
                  <a:lnTo>
                    <a:pt x="35" y="5"/>
                  </a:lnTo>
                  <a:lnTo>
                    <a:pt x="41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00979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  <p:sldLayoutId id="2147483960" r:id="rId20"/>
    <p:sldLayoutId id="2147483891" r:id="rId21"/>
    <p:sldLayoutId id="2147483892" r:id="rId22"/>
    <p:sldLayoutId id="2147483893" r:id="rId23"/>
    <p:sldLayoutId id="2147483894" r:id="rId24"/>
    <p:sldLayoutId id="2147483895" r:id="rId25"/>
    <p:sldLayoutId id="2147483896" r:id="rId26"/>
    <p:sldLayoutId id="2147483897" r:id="rId2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None/>
        <a:defRPr sz="20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2pPr>
      <a:lvl3pPr marL="539750" indent="-27305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6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3pPr>
      <a:lvl4pPr marL="8064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4pPr>
      <a:lvl5pPr marL="1071563" indent="-265113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itchFamily="34" charset="0"/>
        <a:buChar char="–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5pPr>
      <a:lvl6pPr marL="134620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6pPr>
      <a:lvl7pPr marL="1612900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7pPr>
      <a:lvl8pPr marL="1878013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8pPr>
      <a:lvl9pPr marL="2152650" indent="-274638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itchFamily="34" charset="0"/>
        <a:buChar char="•"/>
        <a:defRPr sz="1200" kern="1200">
          <a:solidFill>
            <a:schemeClr val="accent3">
              <a:lumMod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iff"/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3AB12-F854-41F8-B16F-0D4E7CA73EC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S-group personal data manage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BBD180-D5CA-4DD2-B8E0-A0D48E9843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resentation</a:t>
            </a:r>
          </a:p>
          <a:p>
            <a:r>
              <a:rPr lang="en-US" dirty="0"/>
              <a:t>2.4.201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EC86C-6F19-4D04-946B-0EF661FA4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5C7D9-0E28-47EF-9F06-F08E76FA60C9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B8620A-1EE6-473A-A9AB-472536E4A8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name / Author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C60E4F-585B-42F1-B156-E586DCB2A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32AA36-E300-4DEB-91A6-91376813FAD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ai Kuikkaniemi</a:t>
            </a:r>
          </a:p>
        </p:txBody>
      </p:sp>
    </p:spTree>
    <p:extLst>
      <p:ext uri="{BB962C8B-B14F-4D97-AF65-F5344CB8AC3E}">
        <p14:creationId xmlns:p14="http://schemas.microsoft.com/office/powerpoint/2010/main" val="26776926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 data anatom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fi-FI" smtClean="0">
                <a:solidFill>
                  <a:srgbClr val="0B4499"/>
                </a:solidFill>
              </a:rPr>
              <a:pPr/>
              <a:t>2.4.2019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>
                <a:solidFill>
                  <a:srgbClr val="0B4499"/>
                </a:solidFill>
              </a:rPr>
              <a:pPr/>
              <a:t>10</a:t>
            </a:fld>
            <a:endParaRPr lang="fi-FI">
              <a:solidFill>
                <a:srgbClr val="0B4499"/>
              </a:solidFill>
            </a:endParaRPr>
          </a:p>
        </p:txBody>
      </p:sp>
      <p:sp>
        <p:nvSpPr>
          <p:cNvPr id="7" name="Arrow: Right 6"/>
          <p:cNvSpPr/>
          <p:nvPr/>
        </p:nvSpPr>
        <p:spPr>
          <a:xfrm>
            <a:off x="1033670" y="2941983"/>
            <a:ext cx="3326295" cy="1484243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S Data (payment, core transaction details, ID)</a:t>
            </a:r>
          </a:p>
        </p:txBody>
      </p:sp>
      <p:sp>
        <p:nvSpPr>
          <p:cNvPr id="8" name="Rectangle 7"/>
          <p:cNvSpPr/>
          <p:nvPr/>
        </p:nvSpPr>
        <p:spPr>
          <a:xfrm>
            <a:off x="4545496" y="2941983"/>
            <a:ext cx="3140765" cy="14842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urchase data</a:t>
            </a:r>
          </a:p>
        </p:txBody>
      </p:sp>
      <p:cxnSp>
        <p:nvCxnSpPr>
          <p:cNvPr id="12" name="Straight Arrow Connector 11"/>
          <p:cNvCxnSpPr>
            <a:endCxn id="8" idx="0"/>
          </p:cNvCxnSpPr>
          <p:nvPr/>
        </p:nvCxnSpPr>
        <p:spPr>
          <a:xfrm>
            <a:off x="6115878" y="2125003"/>
            <a:ext cx="1" cy="81698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>
            <a:cxnSpLocks/>
            <a:stCxn id="17" idx="0"/>
            <a:endCxn id="8" idx="2"/>
          </p:cNvCxnSpPr>
          <p:nvPr/>
        </p:nvCxnSpPr>
        <p:spPr>
          <a:xfrm flipH="1" flipV="1">
            <a:off x="6115879" y="4426226"/>
            <a:ext cx="1037484" cy="1233484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7824787" y="6188504"/>
            <a:ext cx="1527397" cy="0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481938" y="5659710"/>
            <a:ext cx="1342849" cy="1057588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PIM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Product 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Information 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Management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504726" y="1374601"/>
            <a:ext cx="1182550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IAM/IDM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Profile dat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23617" y="5746188"/>
            <a:ext cx="1012631" cy="811367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External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Product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Attribute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256643" y="2866196"/>
            <a:ext cx="1628184" cy="155003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DAM 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Digital Asset 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Management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Or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Product Content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Master</a:t>
            </a:r>
          </a:p>
        </p:txBody>
      </p:sp>
      <p:cxnSp>
        <p:nvCxnSpPr>
          <p:cNvPr id="23" name="Straight Arrow Connector 22"/>
          <p:cNvCxnSpPr>
            <a:endCxn id="8" idx="3"/>
          </p:cNvCxnSpPr>
          <p:nvPr/>
        </p:nvCxnSpPr>
        <p:spPr>
          <a:xfrm flipH="1" flipV="1">
            <a:off x="7686261" y="3684105"/>
            <a:ext cx="1470991" cy="1357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D2F04877-255A-4396-B607-2B4F68C14F77}"/>
              </a:ext>
            </a:extLst>
          </p:cNvPr>
          <p:cNvCxnSpPr/>
          <p:nvPr/>
        </p:nvCxnSpPr>
        <p:spPr>
          <a:xfrm flipV="1">
            <a:off x="4607796" y="4459360"/>
            <a:ext cx="896930" cy="1113523"/>
          </a:xfrm>
          <a:prstGeom prst="straightConnector1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57D05E-7F2E-4362-B6E5-CA2BCECF3F7F}"/>
              </a:ext>
            </a:extLst>
          </p:cNvPr>
          <p:cNvSpPr txBox="1"/>
          <p:nvPr/>
        </p:nvSpPr>
        <p:spPr>
          <a:xfrm>
            <a:off x="3590846" y="5623077"/>
            <a:ext cx="1753219" cy="56514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Context data</a:t>
            </a:r>
          </a:p>
          <a:p>
            <a:pPr algn="ctr"/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Data about shops</a:t>
            </a:r>
          </a:p>
        </p:txBody>
      </p:sp>
    </p:spTree>
    <p:extLst>
      <p:ext uri="{BB962C8B-B14F-4D97-AF65-F5344CB8AC3E}">
        <p14:creationId xmlns:p14="http://schemas.microsoft.com/office/powerpoint/2010/main" val="743020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5D3402A-47B4-2547-8BA3-6E8447EBBE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67608" y="1110382"/>
            <a:ext cx="2808312" cy="648072"/>
          </a:xfrm>
        </p:spPr>
        <p:txBody>
          <a:bodyPr/>
          <a:lstStyle/>
          <a:p>
            <a:pPr>
              <a:lnSpc>
                <a:spcPct val="65000"/>
              </a:lnSpc>
            </a:pPr>
            <a:r>
              <a:rPr lang="fi-FI" sz="6000" dirty="0"/>
              <a:t>Bonus</a:t>
            </a:r>
            <a:br>
              <a:rPr lang="fi-FI" sz="4800" dirty="0"/>
            </a:br>
            <a:r>
              <a:rPr lang="fi-FI" sz="4800" dirty="0"/>
              <a:t>is money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C5FABB4C-C3E6-DE4E-ADBE-6B4EED8F99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00AA46"/>
              </a:clrFrom>
              <a:clrTo>
                <a:srgbClr val="00AA4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31504" y="476672"/>
            <a:ext cx="870948" cy="135480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B998CF04-B7AF-D643-8687-ACA7B20A54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0" y="2117824"/>
            <a:ext cx="11976100" cy="4263504"/>
          </a:xfrm>
          <a:prstGeom prst="rect">
            <a:avLst/>
          </a:prstGeom>
        </p:spPr>
      </p:pic>
      <p:grpSp>
        <p:nvGrpSpPr>
          <p:cNvPr id="6" name="Ryhmä 5">
            <a:extLst>
              <a:ext uri="{FF2B5EF4-FFF2-40B4-BE49-F238E27FC236}">
                <a16:creationId xmlns:a16="http://schemas.microsoft.com/office/drawing/2014/main" id="{C136822F-16EB-EE4F-8172-3882B43B2842}"/>
              </a:ext>
            </a:extLst>
          </p:cNvPr>
          <p:cNvGrpSpPr/>
          <p:nvPr/>
        </p:nvGrpSpPr>
        <p:grpSpPr>
          <a:xfrm>
            <a:off x="6674858" y="476672"/>
            <a:ext cx="4821742" cy="1354807"/>
            <a:chOff x="6170802" y="476672"/>
            <a:chExt cx="4821742" cy="1354807"/>
          </a:xfrm>
        </p:grpSpPr>
        <p:sp>
          <p:nvSpPr>
            <p:cNvPr id="7" name="Otsikko 1">
              <a:extLst>
                <a:ext uri="{FF2B5EF4-FFF2-40B4-BE49-F238E27FC236}">
                  <a16:creationId xmlns:a16="http://schemas.microsoft.com/office/drawing/2014/main" id="{9826E8C2-89A0-744A-8B0D-9D368DDD11CA}"/>
                </a:ext>
              </a:extLst>
            </p:cNvPr>
            <p:cNvSpPr txBox="1">
              <a:spLocks/>
            </p:cNvSpPr>
            <p:nvPr/>
          </p:nvSpPr>
          <p:spPr>
            <a:xfrm>
              <a:off x="7104112" y="1038374"/>
              <a:ext cx="3888432" cy="72008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sz="8000" b="1" kern="1200" spc="-30" baseline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6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4800" b="1" i="0" u="none" strike="noStrike" kern="1200" cap="none" spc="-3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 Bonus Display Bold"/>
                  <a:ea typeface="+mj-ea"/>
                  <a:cs typeface="+mj-cs"/>
                </a:rPr>
                <a:t>Data </a:t>
              </a:r>
              <a:r>
                <a:rPr lang="fi-FI" sz="4800" dirty="0">
                  <a:solidFill>
                    <a:prstClr val="white"/>
                  </a:solidFill>
                  <a:latin typeface="S Bonus Display Bold"/>
                </a:rPr>
                <a:t>is</a:t>
              </a:r>
              <a:endParaRPr kumimoji="0" lang="fi-FI" sz="48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 Bonus Display Bold"/>
                <a:ea typeface="+mj-ea"/>
                <a:cs typeface="+mj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65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6000" b="1" i="0" u="none" strike="noStrike" kern="1200" cap="none" spc="-3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 Bonus Display Bold"/>
                  <a:ea typeface="+mj-ea"/>
                  <a:cs typeface="+mj-cs"/>
                </a:rPr>
                <a:t>MyData</a:t>
              </a:r>
              <a:endParaRPr kumimoji="0" lang="fi-FI" sz="6000" b="1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 Bonus Display Bold"/>
                <a:ea typeface="+mj-ea"/>
                <a:cs typeface="+mj-cs"/>
              </a:endParaRPr>
            </a:p>
          </p:txBody>
        </p:sp>
        <p:pic>
          <p:nvPicPr>
            <p:cNvPr id="9" name="Kuva 8">
              <a:extLst>
                <a:ext uri="{FF2B5EF4-FFF2-40B4-BE49-F238E27FC236}">
                  <a16:creationId xmlns:a16="http://schemas.microsoft.com/office/drawing/2014/main" id="{E05032FF-DA10-A643-937F-BAA10B752E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clrChange>
                <a:clrFrom>
                  <a:srgbClr val="00AA46"/>
                </a:clrFrom>
                <a:clrTo>
                  <a:srgbClr val="00AA4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70802" y="476672"/>
              <a:ext cx="870948" cy="135480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64952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B52010-6D46-4A48-88AC-DAA38A145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Examples</a:t>
            </a:r>
            <a:br>
              <a:rPr lang="fi-FI" dirty="0"/>
            </a:br>
            <a:r>
              <a:rPr lang="fi-FI" dirty="0" err="1"/>
              <a:t>what</a:t>
            </a:r>
            <a:r>
              <a:rPr lang="fi-FI" dirty="0"/>
              <a:t> </a:t>
            </a:r>
            <a:r>
              <a:rPr lang="fi-FI" dirty="0" err="1"/>
              <a:t>we</a:t>
            </a:r>
            <a:r>
              <a:rPr lang="fi-FI" dirty="0"/>
              <a:t> </a:t>
            </a:r>
            <a:r>
              <a:rPr lang="fi-FI" dirty="0" err="1"/>
              <a:t>do</a:t>
            </a:r>
            <a:endParaRPr lang="fi-FI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EB60B0-2A4B-4EC2-8A47-0CB45D4C3E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99F-AC3C-4AE6-B458-B325F78B925E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51B1AC-D0B2-4854-A836-A0DE0185A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D58FEB-71E9-4889-87F6-A475C6E544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pPr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0644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1559496" y="152510"/>
            <a:ext cx="10369550" cy="557461"/>
          </a:xfrm>
        </p:spPr>
        <p:txBody>
          <a:bodyPr/>
          <a:lstStyle/>
          <a:p>
            <a:r>
              <a:rPr lang="en-US" dirty="0"/>
              <a:t>Example for app to web transition</a:t>
            </a:r>
          </a:p>
        </p:txBody>
      </p:sp>
      <p:pic>
        <p:nvPicPr>
          <p:cNvPr id="7" name="Sisällön paikkamerkki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727" t="9089" r="4184" b="4291"/>
          <a:stretch/>
        </p:blipFill>
        <p:spPr>
          <a:xfrm>
            <a:off x="122193" y="2437238"/>
            <a:ext cx="8235478" cy="4384587"/>
          </a:xfrm>
          <a:prstGeom prst="rect">
            <a:avLst/>
          </a:prstGeom>
        </p:spPr>
      </p:pic>
      <p:sp>
        <p:nvSpPr>
          <p:cNvPr id="10" name="Tekstiruutu 9"/>
          <p:cNvSpPr txBox="1"/>
          <p:nvPr/>
        </p:nvSpPr>
        <p:spPr>
          <a:xfrm>
            <a:off x="233324" y="1055780"/>
            <a:ext cx="2304256" cy="118069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the user is logged in</a:t>
            </a:r>
          </a:p>
          <a:p>
            <a:r>
              <a:rPr lang="en-US" dirty="0">
                <a:solidFill>
                  <a:schemeClr val="accent3">
                    <a:lumMod val="50000"/>
                  </a:schemeClr>
                </a:solidFill>
              </a:rPr>
              <a:t>Application, and intends to move to a web shop </a:t>
            </a:r>
          </a:p>
        </p:txBody>
      </p:sp>
      <p:sp>
        <p:nvSpPr>
          <p:cNvPr id="11" name="Tekstiruutu 10"/>
          <p:cNvSpPr txBox="1"/>
          <p:nvPr/>
        </p:nvSpPr>
        <p:spPr>
          <a:xfrm>
            <a:off x="237503" y="2538542"/>
            <a:ext cx="2088232" cy="28814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S-</a:t>
            </a:r>
            <a:r>
              <a:rPr lang="en-US" sz="1400" b="1" dirty="0" err="1">
                <a:solidFill>
                  <a:schemeClr val="accent3">
                    <a:lumMod val="50000"/>
                  </a:schemeClr>
                </a:solidFill>
              </a:rPr>
              <a:t>mobiili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 application</a:t>
            </a:r>
          </a:p>
        </p:txBody>
      </p:sp>
      <p:sp>
        <p:nvSpPr>
          <p:cNvPr id="12" name="Tekstiruutu 11"/>
          <p:cNvSpPr txBox="1"/>
          <p:nvPr/>
        </p:nvSpPr>
        <p:spPr>
          <a:xfrm>
            <a:off x="3008169" y="2351646"/>
            <a:ext cx="2232248" cy="503590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S-</a:t>
            </a:r>
            <a:r>
              <a:rPr lang="en-US" sz="1400" b="1" dirty="0" err="1">
                <a:solidFill>
                  <a:schemeClr val="accent3">
                    <a:lumMod val="50000"/>
                  </a:schemeClr>
                </a:solidFill>
              </a:rPr>
              <a:t>mobiili</a:t>
            </a:r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 application + S-identification</a:t>
            </a:r>
          </a:p>
        </p:txBody>
      </p:sp>
      <p:sp>
        <p:nvSpPr>
          <p:cNvPr id="14" name="Nuoli oikealle 13"/>
          <p:cNvSpPr/>
          <p:nvPr/>
        </p:nvSpPr>
        <p:spPr>
          <a:xfrm>
            <a:off x="2462080" y="1416859"/>
            <a:ext cx="648072" cy="384793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kstiruutu 14"/>
          <p:cNvSpPr txBox="1"/>
          <p:nvPr/>
        </p:nvSpPr>
        <p:spPr>
          <a:xfrm>
            <a:off x="3104821" y="928666"/>
            <a:ext cx="2271100" cy="1057588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is informed about the transition. The user can also move in as anonymous user</a:t>
            </a:r>
          </a:p>
        </p:txBody>
      </p:sp>
      <p:sp>
        <p:nvSpPr>
          <p:cNvPr id="16" name="Tekstiruutu 15"/>
          <p:cNvSpPr txBox="1"/>
          <p:nvPr/>
        </p:nvSpPr>
        <p:spPr>
          <a:xfrm>
            <a:off x="5956029" y="2467055"/>
            <a:ext cx="1800200" cy="28814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Prisma web store</a:t>
            </a:r>
          </a:p>
        </p:txBody>
      </p:sp>
      <p:sp>
        <p:nvSpPr>
          <p:cNvPr id="17" name="Alanuoli 16"/>
          <p:cNvSpPr/>
          <p:nvPr/>
        </p:nvSpPr>
        <p:spPr>
          <a:xfrm rot="16200000">
            <a:off x="8409360" y="2964332"/>
            <a:ext cx="206850" cy="99286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Ellipsi 17"/>
          <p:cNvSpPr/>
          <p:nvPr/>
        </p:nvSpPr>
        <p:spPr>
          <a:xfrm>
            <a:off x="7656313" y="3287579"/>
            <a:ext cx="360040" cy="36004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Kuva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0626" y="2815533"/>
            <a:ext cx="2220558" cy="3901164"/>
          </a:xfrm>
          <a:prstGeom prst="rect">
            <a:avLst/>
          </a:prstGeom>
        </p:spPr>
      </p:pic>
      <p:sp>
        <p:nvSpPr>
          <p:cNvPr id="20" name="Tekstiruutu 19"/>
          <p:cNvSpPr txBox="1"/>
          <p:nvPr/>
        </p:nvSpPr>
        <p:spPr>
          <a:xfrm>
            <a:off x="9182140" y="2484295"/>
            <a:ext cx="2123311" cy="288147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400" b="1" dirty="0">
                <a:solidFill>
                  <a:schemeClr val="accent3">
                    <a:lumMod val="50000"/>
                  </a:schemeClr>
                </a:solidFill>
              </a:rPr>
              <a:t>Prisma web store</a:t>
            </a:r>
          </a:p>
        </p:txBody>
      </p:sp>
      <p:sp>
        <p:nvSpPr>
          <p:cNvPr id="21" name="Nuoli oikealle 20"/>
          <p:cNvSpPr/>
          <p:nvPr/>
        </p:nvSpPr>
        <p:spPr>
          <a:xfrm>
            <a:off x="5307957" y="1472429"/>
            <a:ext cx="648072" cy="373687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kstiruutu 21"/>
          <p:cNvSpPr txBox="1"/>
          <p:nvPr/>
        </p:nvSpPr>
        <p:spPr>
          <a:xfrm>
            <a:off x="6013332" y="1363928"/>
            <a:ext cx="2145833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is logged in web store</a:t>
            </a:r>
          </a:p>
        </p:txBody>
      </p:sp>
      <p:sp>
        <p:nvSpPr>
          <p:cNvPr id="23" name="Nuoli oikealle 22"/>
          <p:cNvSpPr/>
          <p:nvPr/>
        </p:nvSpPr>
        <p:spPr>
          <a:xfrm>
            <a:off x="8216468" y="1452691"/>
            <a:ext cx="770559" cy="38762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kstiruutu 24"/>
          <p:cNvSpPr txBox="1"/>
          <p:nvPr/>
        </p:nvSpPr>
        <p:spPr>
          <a:xfrm>
            <a:off x="9050561" y="1357520"/>
            <a:ext cx="2386468" cy="565146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has access to personal data</a:t>
            </a:r>
          </a:p>
        </p:txBody>
      </p:sp>
    </p:spTree>
    <p:extLst>
      <p:ext uri="{BB962C8B-B14F-4D97-AF65-F5344CB8AC3E}">
        <p14:creationId xmlns:p14="http://schemas.microsoft.com/office/powerpoint/2010/main" val="3215025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26703" y="112850"/>
            <a:ext cx="10585375" cy="504155"/>
          </a:xfrm>
        </p:spPr>
        <p:txBody>
          <a:bodyPr/>
          <a:lstStyle/>
          <a:p>
            <a:r>
              <a:rPr lang="en-US" sz="2400" dirty="0"/>
              <a:t>An example of upgrading level of assurance during service use</a:t>
            </a:r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 rotWithShape="1">
          <a:blip r:embed="rId2"/>
          <a:srcRect l="5823" t="10676" r="7987" b="18157"/>
          <a:stretch/>
        </p:blipFill>
        <p:spPr>
          <a:xfrm>
            <a:off x="695400" y="2596373"/>
            <a:ext cx="10512015" cy="4261627"/>
          </a:xfrm>
          <a:prstGeom prst="rect">
            <a:avLst/>
          </a:prstGeom>
        </p:spPr>
      </p:pic>
      <p:sp>
        <p:nvSpPr>
          <p:cNvPr id="10" name="Tekstiruutu 9"/>
          <p:cNvSpPr txBox="1"/>
          <p:nvPr/>
        </p:nvSpPr>
        <p:spPr>
          <a:xfrm>
            <a:off x="695400" y="725579"/>
            <a:ext cx="2448272" cy="1550031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the user is persistently logged in to our loyalty mobile application, and intends to view more purchase details</a:t>
            </a:r>
          </a:p>
          <a:p>
            <a:endParaRPr lang="en-US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Nuoli oikealle 10"/>
          <p:cNvSpPr/>
          <p:nvPr/>
        </p:nvSpPr>
        <p:spPr>
          <a:xfrm>
            <a:off x="2999656" y="1212536"/>
            <a:ext cx="504056" cy="43204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kstiruutu 11"/>
          <p:cNvSpPr txBox="1"/>
          <p:nvPr/>
        </p:nvSpPr>
        <p:spPr>
          <a:xfrm>
            <a:off x="3575720" y="746458"/>
            <a:ext cx="2232248" cy="1550031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is informed about the transition. The user can also move in as anonymous user by logging out in this point</a:t>
            </a:r>
          </a:p>
          <a:p>
            <a:endParaRPr lang="en-US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Suorakulmio 12"/>
          <p:cNvSpPr/>
          <p:nvPr/>
        </p:nvSpPr>
        <p:spPr>
          <a:xfrm>
            <a:off x="6600056" y="4365104"/>
            <a:ext cx="1296144" cy="288032"/>
          </a:xfrm>
          <a:prstGeom prst="rect">
            <a:avLst/>
          </a:prstGeom>
          <a:noFill/>
          <a:ln w="22225">
            <a:solidFill>
              <a:srgbClr val="0B44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Alanuoli 13"/>
          <p:cNvSpPr/>
          <p:nvPr/>
        </p:nvSpPr>
        <p:spPr>
          <a:xfrm rot="2005551">
            <a:off x="7506368" y="3461532"/>
            <a:ext cx="158107" cy="1003926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kstiruutu 14"/>
          <p:cNvSpPr txBox="1"/>
          <p:nvPr/>
        </p:nvSpPr>
        <p:spPr>
          <a:xfrm>
            <a:off x="6132103" y="692795"/>
            <a:ext cx="2484177" cy="130380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is logged in web service and wants to access to a service which contains sensitive purchase data (all details)</a:t>
            </a:r>
          </a:p>
        </p:txBody>
      </p:sp>
      <p:sp>
        <p:nvSpPr>
          <p:cNvPr id="16" name="Nuoli oikealle 15"/>
          <p:cNvSpPr/>
          <p:nvPr/>
        </p:nvSpPr>
        <p:spPr>
          <a:xfrm>
            <a:off x="5615335" y="1212536"/>
            <a:ext cx="504056" cy="43204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kstiruutu 16"/>
          <p:cNvSpPr txBox="1"/>
          <p:nvPr/>
        </p:nvSpPr>
        <p:spPr>
          <a:xfrm>
            <a:off x="9035814" y="816669"/>
            <a:ext cx="2376264" cy="130380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User is forced to upgrade the level of assurance with strong authentication (national standard)</a:t>
            </a:r>
          </a:p>
        </p:txBody>
      </p:sp>
      <p:sp>
        <p:nvSpPr>
          <p:cNvPr id="18" name="Nuoli oikealle 17"/>
          <p:cNvSpPr/>
          <p:nvPr/>
        </p:nvSpPr>
        <p:spPr>
          <a:xfrm>
            <a:off x="8514624" y="1171665"/>
            <a:ext cx="563550" cy="51379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7711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11225" y="188640"/>
            <a:ext cx="10369550" cy="720080"/>
          </a:xfrm>
        </p:spPr>
        <p:txBody>
          <a:bodyPr/>
          <a:lstStyle/>
          <a:p>
            <a:r>
              <a:rPr lang="en-US" dirty="0"/>
              <a:t>examples from the s-group's web pages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5</a:t>
            </a:fld>
            <a:endParaRPr lang="en-US" dirty="0"/>
          </a:p>
        </p:txBody>
      </p:sp>
      <p:pic>
        <p:nvPicPr>
          <p:cNvPr id="8" name="Kuva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974" y="908720"/>
            <a:ext cx="12192000" cy="58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3040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Sisällön paikkamerkki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91293" y="116633"/>
            <a:ext cx="10198479" cy="6741368"/>
          </a:xfrm>
          <a:prstGeom prst="rect">
            <a:avLst/>
          </a:prstGeom>
        </p:spPr>
      </p:pic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9568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7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0402"/>
            <a:ext cx="12192000" cy="669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2065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8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58470"/>
            <a:ext cx="12192000" cy="614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3625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19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939" y="0"/>
            <a:ext cx="114801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8905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4C86B-7C5E-4BFE-847B-8DB053D88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About</a:t>
            </a:r>
            <a:r>
              <a:rPr lang="fi-FI" dirty="0"/>
              <a:t> S-</a:t>
            </a:r>
            <a:r>
              <a:rPr lang="fi-FI" dirty="0" err="1"/>
              <a:t>group</a:t>
            </a:r>
            <a:endParaRPr lang="fi-FI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3C5771-A5B6-4E5D-92D5-A8AA8D193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99F-AC3C-4AE6-B458-B325F78B925E}" type="datetime1">
              <a:rPr lang="fi-FI" smtClean="0"/>
              <a:t>2.4.2019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9ADB4B-844D-4822-AD4F-6D23F40E95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ED806C-4301-4014-8B04-791E58F1D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433604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0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1847"/>
            <a:ext cx="12192000" cy="635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3952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1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5" y="0"/>
            <a:ext cx="121737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6465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2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6023"/>
            <a:ext cx="12192000" cy="672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340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3</a:t>
            </a:fld>
            <a:endParaRPr lang="en-US" dirty="0"/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5" y="0"/>
            <a:ext cx="121737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3686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491CF-D860-4081-B731-CD9DD04B8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ore challenges</a:t>
            </a:r>
            <a:br>
              <a:rPr lang="en-US" dirty="0"/>
            </a:b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2A1626-0AED-4195-B0AA-9AEB80589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C7E99F-AC3C-4AE6-B458-B325F78B925E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653A4A5-E511-40A0-B2F3-A3AF2E6E0B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BC0722-4184-400A-9DA8-337018FC4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4140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43950-39FD-404D-B201-6DE5C4B0E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Managing</a:t>
            </a:r>
            <a:r>
              <a:rPr lang="fi-FI" dirty="0"/>
              <a:t> and </a:t>
            </a:r>
            <a:r>
              <a:rPr lang="fi-FI" dirty="0" err="1"/>
              <a:t>implementing</a:t>
            </a:r>
            <a:r>
              <a:rPr lang="fi-FI" dirty="0"/>
              <a:t> </a:t>
            </a:r>
            <a:r>
              <a:rPr lang="fi-FI" dirty="0" err="1"/>
              <a:t>levels</a:t>
            </a:r>
            <a:r>
              <a:rPr lang="fi-FI" dirty="0"/>
              <a:t> of </a:t>
            </a:r>
            <a:r>
              <a:rPr lang="fi-FI" dirty="0" err="1"/>
              <a:t>assurance</a:t>
            </a:r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7A83E7-B282-4C99-8498-B27E4E360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fi-FI" smtClean="0"/>
              <a:t>2.4.2019</a:t>
            </a:fld>
            <a:endParaRPr lang="fi-F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074CAB-1B05-4ED7-812E-2214AD7BA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25</a:t>
            </a:fld>
            <a:endParaRPr lang="fi-FI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202E016-484F-48F6-91FA-3E1F5A2488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4648684"/>
              </p:ext>
            </p:extLst>
          </p:nvPr>
        </p:nvGraphicFramePr>
        <p:xfrm>
          <a:off x="335360" y="1772816"/>
          <a:ext cx="11377265" cy="311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>
                  <a:extLst>
                    <a:ext uri="{9D8B030D-6E8A-4147-A177-3AD203B41FA5}">
                      <a16:colId xmlns:a16="http://schemas.microsoft.com/office/drawing/2014/main" val="1496450875"/>
                    </a:ext>
                  </a:extLst>
                </a:gridCol>
                <a:gridCol w="2606690">
                  <a:extLst>
                    <a:ext uri="{9D8B030D-6E8A-4147-A177-3AD203B41FA5}">
                      <a16:colId xmlns:a16="http://schemas.microsoft.com/office/drawing/2014/main" val="2698084850"/>
                    </a:ext>
                  </a:extLst>
                </a:gridCol>
                <a:gridCol w="2275453">
                  <a:extLst>
                    <a:ext uri="{9D8B030D-6E8A-4147-A177-3AD203B41FA5}">
                      <a16:colId xmlns:a16="http://schemas.microsoft.com/office/drawing/2014/main" val="4103504686"/>
                    </a:ext>
                  </a:extLst>
                </a:gridCol>
                <a:gridCol w="2275453">
                  <a:extLst>
                    <a:ext uri="{9D8B030D-6E8A-4147-A177-3AD203B41FA5}">
                      <a16:colId xmlns:a16="http://schemas.microsoft.com/office/drawing/2014/main" val="3528058511"/>
                    </a:ext>
                  </a:extLst>
                </a:gridCol>
                <a:gridCol w="2275453">
                  <a:extLst>
                    <a:ext uri="{9D8B030D-6E8A-4147-A177-3AD203B41FA5}">
                      <a16:colId xmlns:a16="http://schemas.microsoft.com/office/drawing/2014/main" val="9449469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Erittäin heikko (0.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Heikko (1.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Vahva (2.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Vahvennettu (3.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83071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Ident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Unregister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dentity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Register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dentity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Identified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dentity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Very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tro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6611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Ligh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mplici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Stro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implici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r>
                        <a:rPr lang="fi-FI" dirty="0"/>
                        <a:t> and </a:t>
                      </a:r>
                      <a:r>
                        <a:rPr lang="fi-FI" dirty="0" err="1"/>
                        <a:t>ligh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ing-up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Multi-</a:t>
                      </a:r>
                      <a:r>
                        <a:rPr lang="fi-FI" dirty="0" err="1"/>
                        <a:t>factor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Very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tro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8094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Fed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Link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withou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trac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Ligh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tractu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ust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Stro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contractu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ust</a:t>
                      </a:r>
                      <a:r>
                        <a:rPr lang="fi-FI" dirty="0"/>
                        <a:t> and </a:t>
                      </a:r>
                      <a:r>
                        <a:rPr lang="fi-FI" dirty="0" err="1"/>
                        <a:t>audi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ccess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or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nation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us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framework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Regulated</a:t>
                      </a:r>
                      <a:r>
                        <a:rPr lang="fi-FI" dirty="0"/>
                        <a:t> federation / </a:t>
                      </a:r>
                      <a:r>
                        <a:rPr lang="fi-FI" dirty="0" err="1"/>
                        <a:t>nation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level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134798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EBCC089-5FB1-44C6-898E-B8E915D6235E}"/>
              </a:ext>
            </a:extLst>
          </p:cNvPr>
          <p:cNvSpPr txBox="1"/>
          <p:nvPr/>
        </p:nvSpPr>
        <p:spPr>
          <a:xfrm>
            <a:off x="695400" y="5301208"/>
            <a:ext cx="10383658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How to 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manage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LOA in multi-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channel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, multi-business, multi-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capability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framework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(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with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varioud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legal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fi-FI" sz="1600" dirty="0" err="1">
                <a:solidFill>
                  <a:schemeClr val="accent3">
                    <a:lumMod val="50000"/>
                  </a:schemeClr>
                </a:solidFill>
              </a:rPr>
              <a:t>frameoworks</a:t>
            </a:r>
            <a:r>
              <a:rPr lang="fi-FI" sz="1600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528586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23504F-3CFC-491B-9F54-EE4A646AB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4" y="404664"/>
            <a:ext cx="10801399" cy="1152128"/>
          </a:xfrm>
        </p:spPr>
        <p:txBody>
          <a:bodyPr/>
          <a:lstStyle/>
          <a:p>
            <a:r>
              <a:rPr lang="en-US" dirty="0"/>
              <a:t>Integration of bank and retail authentication and ident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8DE80D-8041-4CE9-83F7-C6F027ABD1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224" y="1773237"/>
            <a:ext cx="10585376" cy="115170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aim at </a:t>
            </a:r>
            <a:r>
              <a:rPr lang="en-US" dirty="0" err="1"/>
              <a:t>seemless</a:t>
            </a:r>
            <a:r>
              <a:rPr lang="en-US" dirty="0"/>
              <a:t> integration of retail identity and bank ident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require still clear organizational separation because of different organization and legal bas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tail cash-back is paid to S-banks account as straight cash </a:t>
            </a:r>
            <a:r>
              <a:rPr lang="en-US" dirty="0">
                <a:sym typeface="Wingdings" panose="05000000000000000000" pitchFamily="2" charset="2"/>
              </a:rPr>
              <a:t> Concepts are fundamentally connected. Many people do not distinguish these two organiz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ym typeface="Wingdings" panose="05000000000000000000" pitchFamily="2" charset="2"/>
              </a:rPr>
              <a:t>Many collaboration opportunities such as PSD2, EIDAS, </a:t>
            </a:r>
            <a:r>
              <a:rPr lang="en-US" dirty="0" err="1">
                <a:sym typeface="Wingdings" panose="05000000000000000000" pitchFamily="2" charset="2"/>
              </a:rPr>
              <a:t>cardless</a:t>
            </a:r>
            <a:r>
              <a:rPr lang="en-US" dirty="0">
                <a:sym typeface="Wingdings" panose="05000000000000000000" pitchFamily="2" charset="2"/>
              </a:rPr>
              <a:t> payment, customer 360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46827C-7A3D-4783-A85E-FA63332881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73C2D1-F411-4D07-86C8-0A96FEEB7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57A059-EE5D-4676-83B1-412D89E5D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6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8DF2106-7E2D-46BE-A1A6-FE25D689AC3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11223" y="4365104"/>
          <a:ext cx="10369552" cy="155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4776">
                  <a:extLst>
                    <a:ext uri="{9D8B030D-6E8A-4147-A177-3AD203B41FA5}">
                      <a16:colId xmlns:a16="http://schemas.microsoft.com/office/drawing/2014/main" val="2986770776"/>
                    </a:ext>
                  </a:extLst>
                </a:gridCol>
                <a:gridCol w="5184776">
                  <a:extLst>
                    <a:ext uri="{9D8B030D-6E8A-4147-A177-3AD203B41FA5}">
                      <a16:colId xmlns:a16="http://schemas.microsoft.com/office/drawing/2014/main" val="30558348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i-FI" dirty="0"/>
                        <a:t>Bank </a:t>
                      </a:r>
                      <a:r>
                        <a:rPr lang="fi-FI" dirty="0" err="1"/>
                        <a:t>critic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features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/>
                        <a:t>Retail </a:t>
                      </a:r>
                      <a:r>
                        <a:rPr lang="fi-FI" dirty="0" err="1"/>
                        <a:t>critic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features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34385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i-FI" dirty="0" err="1"/>
                        <a:t>Part</a:t>
                      </a:r>
                      <a:r>
                        <a:rPr lang="fi-FI" dirty="0"/>
                        <a:t> of </a:t>
                      </a:r>
                      <a:r>
                        <a:rPr lang="fi-FI" dirty="0" err="1"/>
                        <a:t>national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trus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framework</a:t>
                      </a:r>
                      <a:endParaRPr lang="fi-FI" dirty="0"/>
                    </a:p>
                    <a:p>
                      <a:r>
                        <a:rPr lang="fi-FI" dirty="0" err="1"/>
                        <a:t>Always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stro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  <a:p>
                      <a:r>
                        <a:rPr lang="fi-FI" dirty="0"/>
                        <a:t>Bank </a:t>
                      </a:r>
                      <a:r>
                        <a:rPr lang="fi-FI" dirty="0" err="1"/>
                        <a:t>app</a:t>
                      </a:r>
                      <a:r>
                        <a:rPr lang="fi-FI" dirty="0"/>
                        <a:t> as a 2FA </a:t>
                      </a:r>
                      <a:r>
                        <a:rPr lang="fi-FI" dirty="0" err="1"/>
                        <a:t>authentication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method</a:t>
                      </a:r>
                      <a:endParaRPr lang="fi-F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 dirty="0" err="1"/>
                        <a:t>Differen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kinds</a:t>
                      </a:r>
                      <a:r>
                        <a:rPr lang="fi-FI" dirty="0"/>
                        <a:t> soft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  <a:p>
                      <a:r>
                        <a:rPr lang="fi-FI" dirty="0" err="1"/>
                        <a:t>Larg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mount</a:t>
                      </a:r>
                      <a:r>
                        <a:rPr lang="fi-FI" dirty="0"/>
                        <a:t> of </a:t>
                      </a:r>
                      <a:r>
                        <a:rPr lang="fi-FI" dirty="0" err="1"/>
                        <a:t>different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kinds</a:t>
                      </a:r>
                      <a:r>
                        <a:rPr lang="fi-FI" dirty="0"/>
                        <a:t> of </a:t>
                      </a:r>
                      <a:r>
                        <a:rPr lang="fi-FI" dirty="0" err="1"/>
                        <a:t>channels</a:t>
                      </a:r>
                      <a:endParaRPr lang="fi-FI" dirty="0"/>
                    </a:p>
                    <a:p>
                      <a:r>
                        <a:rPr lang="fi-FI" dirty="0" err="1"/>
                        <a:t>Optimiz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purchasing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usability</a:t>
                      </a:r>
                      <a:endParaRPr lang="fi-FI" dirty="0"/>
                    </a:p>
                    <a:p>
                      <a:r>
                        <a:rPr lang="fi-FI" dirty="0"/>
                        <a:t>In-</a:t>
                      </a:r>
                      <a:r>
                        <a:rPr lang="fi-FI" dirty="0" err="1"/>
                        <a:t>store</a:t>
                      </a:r>
                      <a:r>
                        <a:rPr lang="fi-FI" dirty="0"/>
                        <a:t> </a:t>
                      </a:r>
                      <a:r>
                        <a:rPr lang="fi-FI" dirty="0" err="1"/>
                        <a:t>authentication</a:t>
                      </a:r>
                      <a:endParaRPr lang="fi-FI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71218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38847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A4844-6A6F-4014-A7BD-845C9349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hold identity (HIAM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3EA729-82D0-4DEC-AD24-D135841FB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995" y="1279622"/>
            <a:ext cx="6480719" cy="42481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ur loyalty is a progressive cash-back model based on household’s cumulative purchase tot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re is always a co-op member that own’s the household (main memb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ain member has certain </a:t>
            </a:r>
            <a:r>
              <a:rPr lang="en-US" dirty="0" err="1"/>
              <a:t>priviledges</a:t>
            </a:r>
            <a:r>
              <a:rPr lang="en-US" dirty="0"/>
              <a:t> over common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ommon data, sharing and digital service use with the group identity cannot be centralized to only one household member, but more group member options are nee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lated to group privacy concept and </a:t>
            </a:r>
            <a:r>
              <a:rPr lang="en-US" dirty="0" err="1"/>
              <a:t>ourdata</a:t>
            </a:r>
            <a:endParaRPr lang="en-US" dirty="0"/>
          </a:p>
          <a:p>
            <a:r>
              <a:rPr lang="en-US" b="1" i="1" dirty="0">
                <a:sym typeface="Wingdings" panose="05000000000000000000" pitchFamily="2" charset="2"/>
              </a:rPr>
              <a:t> </a:t>
            </a:r>
            <a:r>
              <a:rPr lang="en-US" b="1" i="1" dirty="0"/>
              <a:t>The household identity concept and all different roles and elements of it should be easy and comprehensive for the customer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25866-CD8F-4F93-9A56-43BFE0B45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07CFF6-1AFF-41E2-98E3-81C8274BF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4E5878-A075-412C-9722-9C9F0424B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7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DB63700-BB9F-456E-931B-AF76A6EC6849}"/>
              </a:ext>
            </a:extLst>
          </p:cNvPr>
          <p:cNvSpPr/>
          <p:nvPr/>
        </p:nvSpPr>
        <p:spPr>
          <a:xfrm>
            <a:off x="7518158" y="2492896"/>
            <a:ext cx="1080120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gi</a:t>
            </a:r>
          </a:p>
          <a:p>
            <a:pPr algn="ctr"/>
            <a:r>
              <a:rPr lang="en-US" dirty="0"/>
              <a:t>I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DF435F-8850-4E72-80DE-152B73F97075}"/>
              </a:ext>
            </a:extLst>
          </p:cNvPr>
          <p:cNvSpPr/>
          <p:nvPr/>
        </p:nvSpPr>
        <p:spPr>
          <a:xfrm>
            <a:off x="8868308" y="2492896"/>
            <a:ext cx="104411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gi</a:t>
            </a:r>
          </a:p>
          <a:p>
            <a:pPr algn="ctr"/>
            <a:r>
              <a:rPr lang="en-US" dirty="0"/>
              <a:t>I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7B7E76A-7238-481E-A8AF-E84B7051867E}"/>
              </a:ext>
            </a:extLst>
          </p:cNvPr>
          <p:cNvSpPr/>
          <p:nvPr/>
        </p:nvSpPr>
        <p:spPr>
          <a:xfrm>
            <a:off x="10080935" y="2482356"/>
            <a:ext cx="1080120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gi</a:t>
            </a:r>
          </a:p>
          <a:p>
            <a:pPr algn="ctr"/>
            <a:r>
              <a:rPr lang="en-US" dirty="0"/>
              <a:t>I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266E07-14E4-43EE-A178-DED5B13CFC77}"/>
              </a:ext>
            </a:extLst>
          </p:cNvPr>
          <p:cNvSpPr/>
          <p:nvPr/>
        </p:nvSpPr>
        <p:spPr>
          <a:xfrm>
            <a:off x="7536160" y="4430756"/>
            <a:ext cx="4032448" cy="7920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usehold based progressive loyalty framework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EE0436-1D4A-44FF-A816-3974B064C8E6}"/>
              </a:ext>
            </a:extLst>
          </p:cNvPr>
          <p:cNvSpPr/>
          <p:nvPr/>
        </p:nvSpPr>
        <p:spPr>
          <a:xfrm>
            <a:off x="7536160" y="5339745"/>
            <a:ext cx="1080120" cy="79208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-op</a:t>
            </a:r>
          </a:p>
          <a:p>
            <a:pPr algn="ctr"/>
            <a:r>
              <a:rPr lang="en-US" dirty="0"/>
              <a:t>Memb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F1D4FF-CEDF-44AC-A859-68DABC079822}"/>
              </a:ext>
            </a:extLst>
          </p:cNvPr>
          <p:cNvSpPr/>
          <p:nvPr/>
        </p:nvSpPr>
        <p:spPr>
          <a:xfrm>
            <a:off x="7535960" y="3385380"/>
            <a:ext cx="4032647" cy="723873"/>
          </a:xfrm>
          <a:prstGeom prst="rect">
            <a:avLst/>
          </a:prstGeom>
          <a:gradFill>
            <a:gsLst>
              <a:gs pos="48000">
                <a:srgbClr val="6BBD46"/>
              </a:gs>
              <a:gs pos="61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ousehold level common dat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758F4C-7B8A-477F-AF0B-ADE161F732E1}"/>
              </a:ext>
            </a:extLst>
          </p:cNvPr>
          <p:cNvSpPr/>
          <p:nvPr/>
        </p:nvSpPr>
        <p:spPr>
          <a:xfrm>
            <a:off x="7494156" y="1191972"/>
            <a:ext cx="3600400" cy="96888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aring, common data management and service use with the group ident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0DA991-118F-480A-96A8-BE4D3B0FF5C3}"/>
              </a:ext>
            </a:extLst>
          </p:cNvPr>
          <p:cNvSpPr txBox="1"/>
          <p:nvPr/>
        </p:nvSpPr>
        <p:spPr>
          <a:xfrm>
            <a:off x="7346492" y="6124882"/>
            <a:ext cx="1480708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Loyalty m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65E399-347A-473F-A75A-EBB55B1410FA}"/>
              </a:ext>
            </a:extLst>
          </p:cNvPr>
          <p:cNvSpPr/>
          <p:nvPr/>
        </p:nvSpPr>
        <p:spPr>
          <a:xfrm>
            <a:off x="7320136" y="2337744"/>
            <a:ext cx="1401404" cy="41155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5355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025B8-7D43-463E-85C0-50177CB2B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ID – multiple business un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8434AB-45CC-434B-AB3D-8416594973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aim at one master B2C customer identity, which is connected to our loyalty framework (customer 360), but how do we support the complex ecosystem considering different business and part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ome core challenges:</a:t>
            </a:r>
          </a:p>
          <a:p>
            <a:pPr marL="609600" lvl="1" indent="-342900"/>
            <a:r>
              <a:rPr lang="en-US" dirty="0"/>
              <a:t>Legacy IT / Legacy CRM in different business units</a:t>
            </a:r>
          </a:p>
          <a:p>
            <a:pPr marL="609600" lvl="1" indent="-342900"/>
            <a:r>
              <a:rPr lang="en-US" dirty="0"/>
              <a:t>Bank customers as part of S-group’s customer 360</a:t>
            </a:r>
          </a:p>
          <a:p>
            <a:pPr marL="609600" lvl="1" indent="-342900"/>
            <a:r>
              <a:rPr lang="en-US" dirty="0"/>
              <a:t>Some of the business units have independent legal registry </a:t>
            </a:r>
          </a:p>
          <a:p>
            <a:pPr marL="609600" lvl="1" indent="-342900"/>
            <a:r>
              <a:rPr lang="en-US" dirty="0">
                <a:sym typeface="Wingdings" panose="05000000000000000000" pitchFamily="2" charset="2"/>
              </a:rPr>
              <a:t>Sometimes users want to be just customers of single BU, not customers of S-group as a whole. How to manage this with customer 360 and centralized identification and personal data management without complex merging / duplicate elimination processes.</a:t>
            </a:r>
          </a:p>
          <a:p>
            <a:pPr marL="609600" lvl="1" indent="-342900"/>
            <a:r>
              <a:rPr lang="en-US" dirty="0">
                <a:sym typeface="Wingdings" panose="05000000000000000000" pitchFamily="2" charset="2"/>
              </a:rPr>
              <a:t>We have soft registration (and upgrades) and strong registration depending on customer life-cycle</a:t>
            </a:r>
          </a:p>
          <a:p>
            <a:pPr marL="609600" lvl="1" indent="-342900"/>
            <a:endParaRPr lang="en-US" dirty="0"/>
          </a:p>
          <a:p>
            <a:pPr marL="609600" lvl="1" indent="-342900"/>
            <a:endParaRPr lang="en-US" dirty="0"/>
          </a:p>
          <a:p>
            <a:pPr marL="609600" lvl="1" indent="-342900"/>
            <a:endParaRPr lang="en-US" dirty="0"/>
          </a:p>
          <a:p>
            <a:pPr marL="609600" lvl="1" indent="-342900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E140E0-9DC6-42E4-9870-5D73AA8940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/>
              <a:t>4/2/201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9154CC-B55E-4437-BB7F-BC98BF8F0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name / Autho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9E601A-2BCE-4A47-B998-A3CCE6811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373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-group in a Nutshell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911224" y="1426912"/>
            <a:ext cx="9997181" cy="42481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ig Finnish Co-operative Consortium</a:t>
            </a:r>
          </a:p>
          <a:p>
            <a:pPr marL="609600" lvl="1" indent="-342900"/>
            <a:r>
              <a:rPr lang="en-US" dirty="0"/>
              <a:t>20 local co-operatives joined together + some international busines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rocery is the Core Business </a:t>
            </a:r>
          </a:p>
          <a:p>
            <a:pPr marL="609600" lvl="1" indent="-342900"/>
            <a:r>
              <a:rPr lang="en-US" dirty="0"/>
              <a:t>Market leader in Finl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ver 40 000 Employees total</a:t>
            </a:r>
          </a:p>
          <a:p>
            <a:pPr marL="609600" lvl="1" indent="-342900"/>
            <a:r>
              <a:rPr lang="en-US" dirty="0"/>
              <a:t>Depending how you count it, the S-group one of the biggest private employer in Finl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opular loyalty card system</a:t>
            </a:r>
          </a:p>
          <a:p>
            <a:pPr marL="609600" lvl="1" indent="-342900"/>
            <a:r>
              <a:rPr lang="en-US" dirty="0"/>
              <a:t>2.4 Million+ customer owners 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en-US" smtClean="0">
                <a:solidFill>
                  <a:srgbClr val="0B4499"/>
                </a:solidFill>
              </a:rPr>
              <a:pPr/>
              <a:t>4/2/2019</a:t>
            </a:fld>
            <a:endParaRPr lang="en-US" dirty="0">
              <a:solidFill>
                <a:srgbClr val="0B4499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B4499"/>
                </a:solidFill>
              </a:rPr>
              <a:t>Presentation name / Author</a:t>
            </a: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>
                <a:solidFill>
                  <a:srgbClr val="0B4499"/>
                </a:solidFill>
              </a:rPr>
              <a:pPr/>
              <a:t>3</a:t>
            </a:fld>
            <a:endParaRPr lang="en-US" dirty="0">
              <a:solidFill>
                <a:srgbClr val="0B4499"/>
              </a:solidFill>
            </a:endParaRPr>
          </a:p>
        </p:txBody>
      </p:sp>
      <p:pic>
        <p:nvPicPr>
          <p:cNvPr id="7" name="Kuv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4508" y="4077862"/>
            <a:ext cx="3219206" cy="20248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5966AEA-B3F2-4050-A4B4-6CD058A4710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2478" y="3922642"/>
            <a:ext cx="2329069" cy="232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854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614608F7-E79F-4703-B3E6-D312C02AA61E}"/>
              </a:ext>
            </a:extLst>
          </p:cNvPr>
          <p:cNvSpPr/>
          <p:nvPr/>
        </p:nvSpPr>
        <p:spPr>
          <a:xfrm>
            <a:off x="165652" y="4088296"/>
            <a:ext cx="12026348" cy="2226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BED725-ABAC-4F7D-89D4-025FB32029ED}"/>
              </a:ext>
            </a:extLst>
          </p:cNvPr>
          <p:cNvSpPr/>
          <p:nvPr/>
        </p:nvSpPr>
        <p:spPr>
          <a:xfrm>
            <a:off x="9554817" y="1202635"/>
            <a:ext cx="2531166" cy="2226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983432" y="332656"/>
            <a:ext cx="10369550" cy="1152128"/>
          </a:xfrm>
        </p:spPr>
        <p:txBody>
          <a:bodyPr/>
          <a:lstStyle/>
          <a:p>
            <a:r>
              <a:rPr lang="en-US" sz="2400" dirty="0"/>
              <a:t>S-group is a business ecosystem</a:t>
            </a:r>
            <a:br>
              <a:rPr lang="en-US" sz="2400" dirty="0"/>
            </a:br>
            <a:r>
              <a:rPr lang="en-US" sz="2400" dirty="0"/>
              <a:t>Our businesses and partners are market leaders or on top in their businesses areas</a:t>
            </a:r>
          </a:p>
        </p:txBody>
      </p:sp>
      <p:sp>
        <p:nvSpPr>
          <p:cNvPr id="10" name="Tekstiruutu 9"/>
          <p:cNvSpPr txBox="1"/>
          <p:nvPr/>
        </p:nvSpPr>
        <p:spPr>
          <a:xfrm>
            <a:off x="624721" y="3791592"/>
            <a:ext cx="1378116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Supermarket </a:t>
            </a:r>
          </a:p>
        </p:txBody>
      </p:sp>
      <p:sp>
        <p:nvSpPr>
          <p:cNvPr id="11" name="Tekstiruutu 10"/>
          <p:cNvSpPr txBox="1"/>
          <p:nvPr/>
        </p:nvSpPr>
        <p:spPr>
          <a:xfrm>
            <a:off x="2243784" y="3791591"/>
            <a:ext cx="1834971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Department stores</a:t>
            </a:r>
          </a:p>
        </p:txBody>
      </p:sp>
      <p:sp>
        <p:nvSpPr>
          <p:cNvPr id="12" name="Tekstiruutu 11"/>
          <p:cNvSpPr txBox="1"/>
          <p:nvPr/>
        </p:nvSpPr>
        <p:spPr>
          <a:xfrm>
            <a:off x="4319702" y="3791591"/>
            <a:ext cx="1320408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Gas Stations</a:t>
            </a:r>
          </a:p>
        </p:txBody>
      </p:sp>
      <p:sp>
        <p:nvSpPr>
          <p:cNvPr id="13" name="Tekstiruutu 12"/>
          <p:cNvSpPr txBox="1"/>
          <p:nvPr/>
        </p:nvSpPr>
        <p:spPr>
          <a:xfrm>
            <a:off x="5881057" y="3791591"/>
            <a:ext cx="2210074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Hotels and restaurants</a:t>
            </a:r>
          </a:p>
        </p:txBody>
      </p:sp>
      <p:sp>
        <p:nvSpPr>
          <p:cNvPr id="14" name="Tekstiruutu 13"/>
          <p:cNvSpPr txBox="1"/>
          <p:nvPr/>
        </p:nvSpPr>
        <p:spPr>
          <a:xfrm>
            <a:off x="9476660" y="3791591"/>
            <a:ext cx="669589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Bank </a:t>
            </a:r>
          </a:p>
        </p:txBody>
      </p:sp>
      <p:sp>
        <p:nvSpPr>
          <p:cNvPr id="15" name="Tekstiruutu 14"/>
          <p:cNvSpPr txBox="1"/>
          <p:nvPr/>
        </p:nvSpPr>
        <p:spPr>
          <a:xfrm>
            <a:off x="10321164" y="3791591"/>
            <a:ext cx="1716349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Local businesses</a:t>
            </a:r>
          </a:p>
        </p:txBody>
      </p:sp>
      <p:sp>
        <p:nvSpPr>
          <p:cNvPr id="16" name="Tekstiruutu 15"/>
          <p:cNvSpPr txBox="1"/>
          <p:nvPr/>
        </p:nvSpPr>
        <p:spPr>
          <a:xfrm>
            <a:off x="7737364" y="1806280"/>
            <a:ext cx="1628184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Loyalty Partners</a:t>
            </a:r>
          </a:p>
        </p:txBody>
      </p:sp>
      <p:pic>
        <p:nvPicPr>
          <p:cNvPr id="17" name="Kuva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3306" y="4435226"/>
            <a:ext cx="1556075" cy="289711"/>
          </a:xfrm>
          <a:prstGeom prst="rect">
            <a:avLst/>
          </a:prstGeom>
        </p:spPr>
      </p:pic>
      <p:pic>
        <p:nvPicPr>
          <p:cNvPr id="18" name="Kuva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34" y="5220808"/>
            <a:ext cx="1577399" cy="313160"/>
          </a:xfrm>
          <a:prstGeom prst="rect">
            <a:avLst/>
          </a:prstGeom>
        </p:spPr>
      </p:pic>
      <p:pic>
        <p:nvPicPr>
          <p:cNvPr id="19" name="Kuva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46512" y="4243213"/>
            <a:ext cx="932820" cy="808960"/>
          </a:xfrm>
          <a:prstGeom prst="rect">
            <a:avLst/>
          </a:prstGeom>
        </p:spPr>
      </p:pic>
      <p:pic>
        <p:nvPicPr>
          <p:cNvPr id="20" name="Kuva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1390" y="4936840"/>
            <a:ext cx="1048312" cy="809223"/>
          </a:xfrm>
          <a:prstGeom prst="rect">
            <a:avLst/>
          </a:prstGeom>
        </p:spPr>
      </p:pic>
      <p:pic>
        <p:nvPicPr>
          <p:cNvPr id="21" name="Kuva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3068" y="4926514"/>
            <a:ext cx="738322" cy="738322"/>
          </a:xfrm>
          <a:prstGeom prst="rect">
            <a:avLst/>
          </a:prstGeom>
        </p:spPr>
      </p:pic>
      <p:pic>
        <p:nvPicPr>
          <p:cNvPr id="22" name="Kuva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86236" y="4155544"/>
            <a:ext cx="1153874" cy="1342488"/>
          </a:xfrm>
          <a:prstGeom prst="rect">
            <a:avLst/>
          </a:prstGeom>
        </p:spPr>
      </p:pic>
      <p:pic>
        <p:nvPicPr>
          <p:cNvPr id="23" name="Kuva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1464" y="4826788"/>
            <a:ext cx="789581" cy="424400"/>
          </a:xfrm>
          <a:prstGeom prst="rect">
            <a:avLst/>
          </a:prstGeom>
        </p:spPr>
      </p:pic>
      <p:pic>
        <p:nvPicPr>
          <p:cNvPr id="24" name="Kuva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9634" y="5652380"/>
            <a:ext cx="718244" cy="293827"/>
          </a:xfrm>
          <a:prstGeom prst="rect">
            <a:avLst/>
          </a:prstGeom>
        </p:spPr>
      </p:pic>
      <p:pic>
        <p:nvPicPr>
          <p:cNvPr id="25" name="Kuva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81057" y="4259224"/>
            <a:ext cx="2603142" cy="448082"/>
          </a:xfrm>
          <a:prstGeom prst="rect">
            <a:avLst/>
          </a:prstGeom>
        </p:spPr>
      </p:pic>
      <p:sp>
        <p:nvSpPr>
          <p:cNvPr id="26" name="Tekstiruutu 25"/>
          <p:cNvSpPr txBox="1"/>
          <p:nvPr/>
        </p:nvSpPr>
        <p:spPr>
          <a:xfrm>
            <a:off x="8332078" y="3791591"/>
            <a:ext cx="1033470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Hardware</a:t>
            </a:r>
          </a:p>
        </p:txBody>
      </p:sp>
      <p:pic>
        <p:nvPicPr>
          <p:cNvPr id="27" name="Kuva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72148" y="4127083"/>
            <a:ext cx="905995" cy="905995"/>
          </a:xfrm>
          <a:prstGeom prst="rect">
            <a:avLst/>
          </a:prstGeom>
        </p:spPr>
      </p:pic>
      <p:pic>
        <p:nvPicPr>
          <p:cNvPr id="28" name="Kuva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72148" y="5237023"/>
            <a:ext cx="870689" cy="252302"/>
          </a:xfrm>
          <a:prstGeom prst="rect">
            <a:avLst/>
          </a:prstGeom>
        </p:spPr>
      </p:pic>
      <p:pic>
        <p:nvPicPr>
          <p:cNvPr id="29" name="Kuva 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70423" y="4694985"/>
            <a:ext cx="1676400" cy="714375"/>
          </a:xfrm>
          <a:prstGeom prst="rect">
            <a:avLst/>
          </a:prstGeom>
        </p:spPr>
      </p:pic>
      <p:sp>
        <p:nvSpPr>
          <p:cNvPr id="30" name="Tekstiruutu 29"/>
          <p:cNvSpPr txBox="1"/>
          <p:nvPr/>
        </p:nvSpPr>
        <p:spPr>
          <a:xfrm>
            <a:off x="5659926" y="5590489"/>
            <a:ext cx="2707005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10+ restaurant chain brands</a:t>
            </a:r>
          </a:p>
        </p:txBody>
      </p:sp>
      <p:pic>
        <p:nvPicPr>
          <p:cNvPr id="31" name="Kuva 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317752" y="4085457"/>
            <a:ext cx="901723" cy="901723"/>
          </a:xfrm>
          <a:prstGeom prst="rect">
            <a:avLst/>
          </a:prstGeom>
        </p:spPr>
      </p:pic>
      <p:pic>
        <p:nvPicPr>
          <p:cNvPr id="32" name="Kuva 3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71060" y="4139447"/>
            <a:ext cx="1740929" cy="787067"/>
          </a:xfrm>
          <a:prstGeom prst="rect">
            <a:avLst/>
          </a:prstGeom>
        </p:spPr>
      </p:pic>
      <p:pic>
        <p:nvPicPr>
          <p:cNvPr id="33" name="Kuva 3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611134" y="1339959"/>
            <a:ext cx="1276186" cy="497677"/>
          </a:xfrm>
          <a:prstGeom prst="rect">
            <a:avLst/>
          </a:prstGeom>
        </p:spPr>
      </p:pic>
      <p:cxnSp>
        <p:nvCxnSpPr>
          <p:cNvPr id="35" name="Suora yhdysviiva 34"/>
          <p:cNvCxnSpPr>
            <a:cxnSpLocks/>
          </p:cNvCxnSpPr>
          <p:nvPr/>
        </p:nvCxnSpPr>
        <p:spPr>
          <a:xfrm flipH="1">
            <a:off x="6091707" y="2888057"/>
            <a:ext cx="4293" cy="69227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uora yhdysviiva 37"/>
          <p:cNvCxnSpPr>
            <a:cxnSpLocks/>
          </p:cNvCxnSpPr>
          <p:nvPr/>
        </p:nvCxnSpPr>
        <p:spPr>
          <a:xfrm flipH="1">
            <a:off x="3795547" y="2306137"/>
            <a:ext cx="137526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uora yhdysviiva 41"/>
          <p:cNvCxnSpPr>
            <a:cxnSpLocks/>
          </p:cNvCxnSpPr>
          <p:nvPr/>
        </p:nvCxnSpPr>
        <p:spPr>
          <a:xfrm flipH="1">
            <a:off x="7021187" y="2306137"/>
            <a:ext cx="1310891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kstiruutu 44"/>
          <p:cNvSpPr txBox="1"/>
          <p:nvPr/>
        </p:nvSpPr>
        <p:spPr>
          <a:xfrm>
            <a:off x="1603411" y="2125204"/>
            <a:ext cx="2139542" cy="318924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r>
              <a:rPr lang="en-US" sz="1600" dirty="0">
                <a:solidFill>
                  <a:schemeClr val="accent3">
                    <a:lumMod val="50000"/>
                  </a:schemeClr>
                </a:solidFill>
              </a:rPr>
              <a:t>20 local co-operatives</a:t>
            </a:r>
          </a:p>
        </p:txBody>
      </p:sp>
      <p:pic>
        <p:nvPicPr>
          <p:cNvPr id="46" name="Kuva 4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11134" y="2092660"/>
            <a:ext cx="1755119" cy="376901"/>
          </a:xfrm>
          <a:prstGeom prst="rect">
            <a:avLst/>
          </a:prstGeom>
        </p:spPr>
      </p:pic>
      <p:pic>
        <p:nvPicPr>
          <p:cNvPr id="47" name="Kuva 4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587504" y="2582969"/>
            <a:ext cx="1467320" cy="774023"/>
          </a:xfrm>
          <a:prstGeom prst="rect">
            <a:avLst/>
          </a:prstGeom>
        </p:spPr>
      </p:pic>
      <p:pic>
        <p:nvPicPr>
          <p:cNvPr id="48" name="Kuva 4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241524" y="2582969"/>
            <a:ext cx="757707" cy="75770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4AC64A-FE9A-47C5-928A-FDDD1B775015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01" y="1205947"/>
            <a:ext cx="1944756" cy="1944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13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-op membership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07368" y="1340769"/>
            <a:ext cx="7416824" cy="3816424"/>
          </a:xfrm>
        </p:spPr>
        <p:txBody>
          <a:bodyPr/>
          <a:lstStyle/>
          <a:p>
            <a:pPr marL="342000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S Group is owned by its more than two million co-op members. </a:t>
            </a:r>
          </a:p>
          <a:p>
            <a:pPr marL="342000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Members enjoy a broad range of services in all of Finland. The more you use the services, the bigger the benefits. </a:t>
            </a:r>
          </a:p>
          <a:p>
            <a:pPr marL="342000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The number one benefit is the Bonus reward. </a:t>
            </a:r>
            <a:br>
              <a:rPr lang="en-US" dirty="0"/>
            </a:br>
            <a:r>
              <a:rPr lang="en-US" dirty="0"/>
              <a:t>In 2017, the Bonus rewards paid to co-op </a:t>
            </a:r>
            <a:br>
              <a:rPr lang="en-US" dirty="0"/>
            </a:br>
            <a:r>
              <a:rPr lang="en-US" dirty="0"/>
              <a:t>members </a:t>
            </a:r>
            <a:r>
              <a:rPr lang="en-US" dirty="0" err="1"/>
              <a:t>totalled</a:t>
            </a:r>
            <a:r>
              <a:rPr lang="en-US" dirty="0"/>
              <a:t> EUR 334 million. </a:t>
            </a:r>
          </a:p>
          <a:p>
            <a:pPr marL="342000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Other monetary benefits of co-op membership are the payment-method benefit, surplus return and interest on the membership fee. </a:t>
            </a:r>
          </a:p>
          <a:p>
            <a:pPr marL="342000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2.35 Million Co-op members in 5.5 Million population</a:t>
            </a:r>
          </a:p>
          <a:p>
            <a:pPr marL="608700" lvl="1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Registered household members approx. 4 million</a:t>
            </a:r>
          </a:p>
          <a:p>
            <a:pPr marL="608700" lvl="1" indent="-342900">
              <a:spcBef>
                <a:spcPts val="1800"/>
              </a:spcBef>
              <a:buFont typeface="Arial"/>
              <a:buChar char="•"/>
            </a:pPr>
            <a:r>
              <a:rPr lang="en-US" dirty="0"/>
              <a:t>Co-op members are identified</a:t>
            </a:r>
          </a:p>
          <a:p>
            <a:pPr marL="342000" indent="-342900">
              <a:spcBef>
                <a:spcPts val="1800"/>
              </a:spcBef>
              <a:buFont typeface="Arial"/>
              <a:buChar char="•"/>
            </a:pPr>
            <a:endParaRPr lang="en-US" dirty="0"/>
          </a:p>
          <a:p>
            <a:pPr marL="342900" indent="-342900">
              <a:buFont typeface="Arial"/>
              <a:buChar char="•"/>
            </a:pPr>
            <a:endParaRPr lang="en-US" dirty="0"/>
          </a:p>
          <a:p>
            <a:pPr marL="342900" indent="-342900">
              <a:buFont typeface="Arial"/>
              <a:buChar char="•"/>
            </a:pPr>
            <a:endParaRPr lang="en-US" dirty="0"/>
          </a:p>
          <a:p>
            <a:pPr marL="342900" indent="-342900">
              <a:buFont typeface="Arial"/>
              <a:buChar char="•"/>
            </a:pPr>
            <a:endParaRPr lang="en-US" dirty="0"/>
          </a:p>
          <a:p>
            <a:pPr marL="342900" indent="-342900">
              <a:buFont typeface="Arial"/>
              <a:buChar char="•"/>
            </a:pPr>
            <a:endParaRPr lang="en-US" dirty="0"/>
          </a:p>
        </p:txBody>
      </p:sp>
      <p:pic>
        <p:nvPicPr>
          <p:cNvPr id="7" name="Kuva 6" descr="asiakasomistajan-edut-EN-4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0170" y="2708900"/>
            <a:ext cx="4369562" cy="4009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798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 Group’s key figures in 2017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623240" y="1052670"/>
          <a:ext cx="11161550" cy="6573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25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55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6157">
                <a:tc>
                  <a:txBody>
                    <a:bodyPr/>
                    <a:lstStyle/>
                    <a:p>
                      <a:endParaRPr lang="fi-FI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fi-FI" sz="1200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7692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Retail sales (excl. taxes)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€11 billion</a:t>
                      </a:r>
                      <a:br>
                        <a:rPr dirty="0"/>
                      </a:br>
                      <a:r>
                        <a:rPr dirty="0"/>
                        <a:t> 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7692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Operating </a:t>
                      </a:r>
                      <a:r>
                        <a:rPr lang="fi-FI" sz="2000" noProof="0" dirty="0" err="1"/>
                        <a:t>result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EUR 344 million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7692">
                <a:tc>
                  <a:txBody>
                    <a:bodyPr/>
                    <a:lstStyle/>
                    <a:p>
                      <a:r>
                        <a:rPr lang="fi-FI" sz="2000" i="0" noProof="0" dirty="0"/>
                        <a:t>Investments</a:t>
                      </a:r>
                      <a:endParaRPr lang="en-GB" sz="2000" i="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EUR 492 million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1275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Outlets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1.631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1275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Employees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39.382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31275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Co-op members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 2.35 million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47692">
                <a:tc>
                  <a:txBody>
                    <a:bodyPr/>
                    <a:lstStyle/>
                    <a:p>
                      <a:r>
                        <a:rPr lang="fi-FI" sz="2000" noProof="0" dirty="0"/>
                        <a:t>Bonus and other monetary benefits</a:t>
                      </a:r>
                      <a:r>
                        <a:rPr dirty="0"/>
                        <a:t> </a:t>
                      </a:r>
                      <a:r>
                        <a:rPr lang="fi-FI" sz="2000" noProof="0" dirty="0"/>
                        <a:t>in total</a:t>
                      </a:r>
                      <a:endParaRPr lang="en-GB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i-FI" sz="2000" noProof="0" dirty="0"/>
                        <a:t>EUR 382 </a:t>
                      </a:r>
                      <a:r>
                        <a:rPr lang="fi-FI" sz="2000" noProof="0" dirty="0" err="1"/>
                        <a:t>million</a:t>
                      </a:r>
                      <a:endParaRPr lang="fi-FI" sz="2000" noProof="0" dirty="0"/>
                    </a:p>
                    <a:p>
                      <a:pPr algn="r"/>
                      <a:endParaRPr lang="fi-FI" sz="2000" noProof="0" dirty="0"/>
                    </a:p>
                    <a:p>
                      <a:pPr algn="r"/>
                      <a:r>
                        <a:rPr lang="fi-FI" sz="2000" noProof="0" dirty="0"/>
                        <a:t>130+EUR / </a:t>
                      </a:r>
                      <a:r>
                        <a:rPr lang="fi-FI" sz="2000" noProof="0" dirty="0" err="1"/>
                        <a:t>member</a:t>
                      </a:r>
                      <a:endParaRPr lang="fi-FI" sz="2000" noProof="0" dirty="0"/>
                    </a:p>
                    <a:p>
                      <a:pPr algn="r"/>
                      <a:endParaRPr lang="fi-FI" sz="2000" noProof="0" dirty="0"/>
                    </a:p>
                    <a:p>
                      <a:pPr algn="r"/>
                      <a:endParaRPr lang="en-GB" sz="2000" noProof="0" dirty="0"/>
                    </a:p>
                    <a:p>
                      <a:pPr algn="r"/>
                      <a:endParaRPr lang="fi-FI" sz="2000" noProof="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4598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tsikko 11"/>
          <p:cNvSpPr>
            <a:spLocks noGrp="1"/>
          </p:cNvSpPr>
          <p:nvPr>
            <p:ph type="title"/>
          </p:nvPr>
        </p:nvSpPr>
        <p:spPr>
          <a:xfrm>
            <a:off x="911225" y="197261"/>
            <a:ext cx="10369550" cy="576064"/>
          </a:xfrm>
        </p:spPr>
        <p:txBody>
          <a:bodyPr/>
          <a:lstStyle/>
          <a:p>
            <a:r>
              <a:rPr lang="en-US" sz="2800" dirty="0"/>
              <a:t>What kind of use cases drive personal data management and identity and access management?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14" name="Päivämäärän paikkamerkki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B4499"/>
                </a:solidFill>
              </a:rPr>
              <a:t>26.4.2016</a:t>
            </a:r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B4499"/>
                </a:solidFill>
              </a:rPr>
              <a:t>S-ryhmän </a:t>
            </a:r>
            <a:r>
              <a:rPr lang="en-US" dirty="0" err="1">
                <a:solidFill>
                  <a:srgbClr val="0B4499"/>
                </a:solidFill>
              </a:rPr>
              <a:t>strategia</a:t>
            </a:r>
            <a:r>
              <a:rPr lang="en-US" dirty="0">
                <a:solidFill>
                  <a:srgbClr val="0B4499"/>
                </a:solidFill>
              </a:rPr>
              <a:t> 2016</a:t>
            </a:r>
          </a:p>
        </p:txBody>
      </p:sp>
      <p:sp>
        <p:nvSpPr>
          <p:cNvPr id="15" name="Dian numeron paikkamerkki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en-US" smtClean="0">
                <a:solidFill>
                  <a:srgbClr val="0B4499"/>
                </a:solidFill>
              </a:rPr>
              <a:pPr/>
              <a:t>7</a:t>
            </a:fld>
            <a:endParaRPr lang="en-US" dirty="0">
              <a:solidFill>
                <a:srgbClr val="0B4499"/>
              </a:solidFill>
            </a:endParaRPr>
          </a:p>
        </p:txBody>
      </p:sp>
      <p:pic>
        <p:nvPicPr>
          <p:cNvPr id="2" name="Kuva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"/>
          <a:stretch/>
        </p:blipFill>
        <p:spPr>
          <a:xfrm>
            <a:off x="8616280" y="3140968"/>
            <a:ext cx="2747232" cy="2729674"/>
          </a:xfrm>
          <a:prstGeom prst="rect">
            <a:avLst/>
          </a:prstGeom>
        </p:spPr>
      </p:pic>
      <p:pic>
        <p:nvPicPr>
          <p:cNvPr id="3" name="Kuva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792" y="3140968"/>
            <a:ext cx="4097072" cy="2729674"/>
          </a:xfrm>
          <a:prstGeom prst="rect">
            <a:avLst/>
          </a:prstGeom>
        </p:spPr>
      </p:pic>
      <p:pic>
        <p:nvPicPr>
          <p:cNvPr id="5" name="Kuva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30"/>
          <a:stretch/>
        </p:blipFill>
        <p:spPr>
          <a:xfrm>
            <a:off x="1055440" y="3068960"/>
            <a:ext cx="3019897" cy="2729674"/>
          </a:xfrm>
          <a:prstGeom prst="rect">
            <a:avLst/>
          </a:prstGeom>
        </p:spPr>
      </p:pic>
      <p:sp>
        <p:nvSpPr>
          <p:cNvPr id="9" name="Tekstiruutu 8"/>
          <p:cNvSpPr txBox="1"/>
          <p:nvPr/>
        </p:nvSpPr>
        <p:spPr>
          <a:xfrm>
            <a:off x="911424" y="1988840"/>
            <a:ext cx="3202076" cy="996033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A5A5A5">
                    <a:lumMod val="50000"/>
                  </a:srgbClr>
                </a:solidFill>
              </a:rPr>
              <a:t>Targeted  digital marketing and customer journey management</a:t>
            </a:r>
          </a:p>
        </p:txBody>
      </p:sp>
      <p:sp>
        <p:nvSpPr>
          <p:cNvPr id="16" name="Tekstiruutu 15"/>
          <p:cNvSpPr txBox="1"/>
          <p:nvPr/>
        </p:nvSpPr>
        <p:spPr>
          <a:xfrm>
            <a:off x="4439816" y="1772816"/>
            <a:ext cx="3682795" cy="1303809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A5A5A5">
                    <a:lumMod val="50000"/>
                  </a:srgbClr>
                </a:solidFill>
              </a:rPr>
              <a:t>Personalized physical and digital services</a:t>
            </a:r>
          </a:p>
          <a:p>
            <a:pPr algn="ctr" defTabSz="914400"/>
            <a:r>
              <a:rPr lang="en-US" sz="2000" b="1" dirty="0">
                <a:solidFill>
                  <a:srgbClr val="A5A5A5">
                    <a:lumMod val="50000"/>
                  </a:srgbClr>
                </a:solidFill>
              </a:rPr>
              <a:t>better customer experience</a:t>
            </a:r>
          </a:p>
          <a:p>
            <a:pPr algn="ctr" defTabSz="914400"/>
            <a:r>
              <a:rPr lang="en-US" sz="2000" b="1" dirty="0">
                <a:solidFill>
                  <a:srgbClr val="A5A5A5">
                    <a:lumMod val="50000"/>
                  </a:srgbClr>
                </a:solidFill>
              </a:rPr>
              <a:t>better service </a:t>
            </a:r>
          </a:p>
        </p:txBody>
      </p:sp>
      <p:sp>
        <p:nvSpPr>
          <p:cNvPr id="17" name="Tekstiruutu 16"/>
          <p:cNvSpPr txBox="1"/>
          <p:nvPr/>
        </p:nvSpPr>
        <p:spPr>
          <a:xfrm>
            <a:off x="8142963" y="1949763"/>
            <a:ext cx="3528392" cy="996033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algn="ctr" defTabSz="914400"/>
            <a:r>
              <a:rPr lang="en-US" sz="2000" b="1" dirty="0">
                <a:solidFill>
                  <a:srgbClr val="A5A5A5">
                    <a:lumMod val="50000"/>
                  </a:srgbClr>
                </a:solidFill>
              </a:rPr>
              <a:t>Efficient self-service of Co-op membership and loyalty and retail in general</a:t>
            </a:r>
          </a:p>
        </p:txBody>
      </p:sp>
      <p:sp>
        <p:nvSpPr>
          <p:cNvPr id="18" name="Suorakulmio 17"/>
          <p:cNvSpPr/>
          <p:nvPr/>
        </p:nvSpPr>
        <p:spPr>
          <a:xfrm>
            <a:off x="9689175" y="6685328"/>
            <a:ext cx="247535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r>
              <a:rPr lang="en-US" sz="700" dirty="0" err="1">
                <a:solidFill>
                  <a:srgbClr val="E8EAEC"/>
                </a:solidFill>
              </a:rPr>
              <a:t>Kuvat</a:t>
            </a:r>
            <a:r>
              <a:rPr lang="en-US" sz="700" dirty="0">
                <a:solidFill>
                  <a:srgbClr val="E8EAEC"/>
                </a:solidFill>
              </a:rPr>
              <a:t>: Harri Mäenpää, Nina </a:t>
            </a:r>
            <a:r>
              <a:rPr lang="en-US" sz="700" dirty="0" err="1">
                <a:solidFill>
                  <a:srgbClr val="E8EAEC"/>
                </a:solidFill>
              </a:rPr>
              <a:t>Kaverinen</a:t>
            </a:r>
            <a:r>
              <a:rPr lang="en-US" sz="700" dirty="0">
                <a:solidFill>
                  <a:srgbClr val="E8EAEC"/>
                </a:solidFill>
              </a:rPr>
              <a:t>, Lauri </a:t>
            </a:r>
            <a:r>
              <a:rPr lang="en-US" sz="700" dirty="0" err="1">
                <a:solidFill>
                  <a:srgbClr val="E8EAEC"/>
                </a:solidFill>
              </a:rPr>
              <a:t>Mannermaa</a:t>
            </a:r>
            <a:endParaRPr lang="en-US" sz="700" dirty="0">
              <a:solidFill>
                <a:srgbClr val="E8EAE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7479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313D2-A6EC-4393-A268-FBC047E8E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What</a:t>
            </a:r>
            <a:r>
              <a:rPr lang="fi-FI" dirty="0"/>
              <a:t> is </a:t>
            </a:r>
            <a:r>
              <a:rPr lang="fi-FI" dirty="0" err="1"/>
              <a:t>personal</a:t>
            </a:r>
            <a:r>
              <a:rPr lang="fi-FI" dirty="0"/>
              <a:t> data </a:t>
            </a:r>
            <a:r>
              <a:rPr lang="fi-FI" dirty="0" err="1"/>
              <a:t>platform</a:t>
            </a:r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A92BA0-C34F-4167-AC1A-415A64769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ACE36-46D4-41FA-8343-270A5A419116}" type="datetime1">
              <a:rPr lang="fi-FI" smtClean="0"/>
              <a:t>2.4.2019</a:t>
            </a:fld>
            <a:endParaRPr lang="fi-FI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3341C6-B6F3-43C6-8556-FB37661E3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Presentation name / Autho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0E2A05-8988-4908-BBC1-2869E5C07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008F9-AA2E-4FBA-9C76-30BCD8AD3008}" type="slidenum">
              <a:rPr lang="fi-FI" smtClean="0"/>
              <a:t>8</a:t>
            </a:fld>
            <a:endParaRPr lang="fi-FI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F8F030-E98C-46DB-8847-736B508AAFF0}"/>
              </a:ext>
            </a:extLst>
          </p:cNvPr>
          <p:cNvSpPr/>
          <p:nvPr/>
        </p:nvSpPr>
        <p:spPr>
          <a:xfrm>
            <a:off x="1991544" y="3140968"/>
            <a:ext cx="8712968" cy="12961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/>
              <a:t>Personal data and </a:t>
            </a:r>
            <a:r>
              <a:rPr lang="fi-FI" sz="2000" dirty="0" err="1"/>
              <a:t>identity</a:t>
            </a:r>
            <a:r>
              <a:rPr lang="fi-FI" sz="2000" dirty="0"/>
              <a:t> </a:t>
            </a:r>
            <a:r>
              <a:rPr lang="fi-FI" sz="2000" dirty="0" err="1"/>
              <a:t>platform</a:t>
            </a:r>
            <a:endParaRPr lang="fi-FI" sz="2000" dirty="0"/>
          </a:p>
          <a:p>
            <a:pPr algn="ctr"/>
            <a:r>
              <a:rPr lang="fi-FI" sz="2000" dirty="0" err="1"/>
              <a:t>Platform</a:t>
            </a:r>
            <a:r>
              <a:rPr lang="fi-FI" sz="2000" dirty="0"/>
              <a:t> </a:t>
            </a:r>
            <a:r>
              <a:rPr lang="fi-FI" sz="2000" dirty="0" err="1"/>
              <a:t>identity</a:t>
            </a:r>
            <a:r>
              <a:rPr lang="fi-FI" sz="2000" dirty="0"/>
              <a:t>, </a:t>
            </a:r>
            <a:r>
              <a:rPr lang="fi-FI" sz="2000" dirty="0" err="1"/>
              <a:t>authorization</a:t>
            </a:r>
            <a:r>
              <a:rPr lang="fi-FI" sz="2000" dirty="0"/>
              <a:t>, </a:t>
            </a:r>
            <a:r>
              <a:rPr lang="fi-FI" sz="2000" dirty="0" err="1"/>
              <a:t>core</a:t>
            </a:r>
            <a:r>
              <a:rPr lang="fi-FI" sz="2000" dirty="0"/>
              <a:t> data, </a:t>
            </a:r>
            <a:r>
              <a:rPr lang="fi-FI" sz="2000" dirty="0" err="1"/>
              <a:t>access</a:t>
            </a:r>
            <a:r>
              <a:rPr lang="fi-FI" sz="2000" dirty="0"/>
              <a:t> management, </a:t>
            </a:r>
            <a:r>
              <a:rPr lang="fi-FI" sz="2000" dirty="0" err="1"/>
              <a:t>sessions</a:t>
            </a:r>
            <a:endParaRPr lang="fi-FI" sz="2000" dirty="0"/>
          </a:p>
          <a:p>
            <a:pPr algn="ctr"/>
            <a:r>
              <a:rPr lang="fi-FI" sz="2000" dirty="0"/>
              <a:t>Client </a:t>
            </a:r>
            <a:r>
              <a:rPr lang="fi-FI" sz="2000" dirty="0" err="1"/>
              <a:t>registration</a:t>
            </a:r>
            <a:endParaRPr lang="fi-FI" sz="2000" dirty="0"/>
          </a:p>
          <a:p>
            <a:pPr algn="ctr"/>
            <a:endParaRPr lang="fi-FI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08DC719-5BFB-4DD9-9B46-136645EA7DF7}"/>
              </a:ext>
            </a:extLst>
          </p:cNvPr>
          <p:cNvSpPr/>
          <p:nvPr/>
        </p:nvSpPr>
        <p:spPr>
          <a:xfrm>
            <a:off x="1559496" y="1700808"/>
            <a:ext cx="158417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/>
              <a:t>Mobile </a:t>
            </a:r>
            <a:r>
              <a:rPr lang="fi-FI" dirty="0" err="1"/>
              <a:t>clients</a:t>
            </a:r>
            <a:endParaRPr lang="fi-FI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37E73D-807D-4E35-A014-B98EA8D7C869}"/>
              </a:ext>
            </a:extLst>
          </p:cNvPr>
          <p:cNvSpPr/>
          <p:nvPr/>
        </p:nvSpPr>
        <p:spPr>
          <a:xfrm>
            <a:off x="3575720" y="1700808"/>
            <a:ext cx="158417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/>
              <a:t>Web </a:t>
            </a:r>
            <a:r>
              <a:rPr lang="fi-FI" dirty="0" err="1"/>
              <a:t>clients</a:t>
            </a:r>
            <a:endParaRPr lang="fi-FI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EC0946-646C-48EF-BECD-C19CEEA96D6D}"/>
              </a:ext>
            </a:extLst>
          </p:cNvPr>
          <p:cNvSpPr/>
          <p:nvPr/>
        </p:nvSpPr>
        <p:spPr>
          <a:xfrm>
            <a:off x="5519936" y="1700808"/>
            <a:ext cx="158417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 err="1"/>
              <a:t>Customer</a:t>
            </a:r>
            <a:endParaRPr lang="fi-FI" dirty="0"/>
          </a:p>
          <a:p>
            <a:pPr algn="ctr"/>
            <a:r>
              <a:rPr lang="fi-FI" dirty="0"/>
              <a:t>Servi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AC2831-C651-412A-9CB0-9EF950A0A055}"/>
              </a:ext>
            </a:extLst>
          </p:cNvPr>
          <p:cNvSpPr/>
          <p:nvPr/>
        </p:nvSpPr>
        <p:spPr>
          <a:xfrm>
            <a:off x="7464152" y="1700808"/>
            <a:ext cx="158417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 err="1"/>
              <a:t>Social</a:t>
            </a:r>
            <a:r>
              <a:rPr lang="fi-FI" dirty="0"/>
              <a:t> media</a:t>
            </a:r>
          </a:p>
          <a:p>
            <a:pPr algn="ctr"/>
            <a:r>
              <a:rPr lang="fi-FI" dirty="0"/>
              <a:t>&amp; Messag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970E54-B8F0-4517-BB18-4D6BC3BE68A5}"/>
              </a:ext>
            </a:extLst>
          </p:cNvPr>
          <p:cNvSpPr/>
          <p:nvPr/>
        </p:nvSpPr>
        <p:spPr>
          <a:xfrm>
            <a:off x="9336360" y="1700808"/>
            <a:ext cx="1584176" cy="792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dirty="0" err="1"/>
              <a:t>External</a:t>
            </a:r>
            <a:r>
              <a:rPr lang="fi-FI" dirty="0"/>
              <a:t> 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30FA1CC-62D6-40CA-A44B-D271C38B88D9}"/>
              </a:ext>
            </a:extLst>
          </p:cNvPr>
          <p:cNvSpPr/>
          <p:nvPr/>
        </p:nvSpPr>
        <p:spPr>
          <a:xfrm>
            <a:off x="767408" y="5085184"/>
            <a:ext cx="1800200" cy="9997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/>
              <a:t>CRM</a:t>
            </a:r>
          </a:p>
          <a:p>
            <a:pPr algn="ctr"/>
            <a:endParaRPr lang="fi-FI" sz="20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26710D-C201-42B8-AC73-3860A0B7FAC5}"/>
              </a:ext>
            </a:extLst>
          </p:cNvPr>
          <p:cNvSpPr/>
          <p:nvPr/>
        </p:nvSpPr>
        <p:spPr>
          <a:xfrm>
            <a:off x="2783632" y="5085184"/>
            <a:ext cx="1656184" cy="9997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/>
              <a:t>Marketing </a:t>
            </a:r>
            <a:r>
              <a:rPr lang="fi-FI" sz="2000" dirty="0" err="1"/>
              <a:t>automation</a:t>
            </a:r>
            <a:endParaRPr lang="fi-FI" sz="20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B28A1B-FD6B-49E1-B7C3-DBCE5F0F7006}"/>
              </a:ext>
            </a:extLst>
          </p:cNvPr>
          <p:cNvSpPr/>
          <p:nvPr/>
        </p:nvSpPr>
        <p:spPr>
          <a:xfrm>
            <a:off x="4655840" y="5085184"/>
            <a:ext cx="2448272" cy="9997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 err="1"/>
              <a:t>Event</a:t>
            </a:r>
            <a:r>
              <a:rPr lang="fi-FI" sz="2000" dirty="0"/>
              <a:t> data management</a:t>
            </a:r>
          </a:p>
          <a:p>
            <a:pPr algn="ctr"/>
            <a:endParaRPr lang="fi-FI" sz="20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7F3AC3B-E0B1-4AB0-AF95-ECCB3B5F7B3C}"/>
              </a:ext>
            </a:extLst>
          </p:cNvPr>
          <p:cNvSpPr/>
          <p:nvPr/>
        </p:nvSpPr>
        <p:spPr>
          <a:xfrm>
            <a:off x="7320136" y="5085184"/>
            <a:ext cx="2088232" cy="9997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 err="1"/>
              <a:t>Core</a:t>
            </a:r>
            <a:r>
              <a:rPr lang="fi-FI" sz="2000" dirty="0"/>
              <a:t> </a:t>
            </a:r>
            <a:r>
              <a:rPr lang="fi-FI" sz="2000" dirty="0" err="1"/>
              <a:t>sytems</a:t>
            </a:r>
            <a:endParaRPr lang="fi-FI" sz="2000" dirty="0"/>
          </a:p>
          <a:p>
            <a:pPr algn="ctr"/>
            <a:r>
              <a:rPr lang="fi-FI" sz="2000" dirty="0"/>
              <a:t>(POS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37829C-5270-46E4-BE09-0843904E3E25}"/>
              </a:ext>
            </a:extLst>
          </p:cNvPr>
          <p:cNvSpPr/>
          <p:nvPr/>
        </p:nvSpPr>
        <p:spPr>
          <a:xfrm>
            <a:off x="9840416" y="5085184"/>
            <a:ext cx="1944216" cy="99972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000" dirty="0"/>
              <a:t>Analytics</a:t>
            </a:r>
          </a:p>
          <a:p>
            <a:pPr algn="ctr"/>
            <a:r>
              <a:rPr lang="fi-FI" sz="2000" dirty="0"/>
              <a:t>Data</a:t>
            </a:r>
          </a:p>
          <a:p>
            <a:pPr algn="ctr"/>
            <a:r>
              <a:rPr lang="fi-FI" sz="2000" dirty="0"/>
              <a:t>science</a:t>
            </a:r>
          </a:p>
        </p:txBody>
      </p:sp>
    </p:spTree>
    <p:extLst>
      <p:ext uri="{BB962C8B-B14F-4D97-AF65-F5344CB8AC3E}">
        <p14:creationId xmlns:p14="http://schemas.microsoft.com/office/powerpoint/2010/main" val="16200539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49F3E2B-99FC-4CEA-83C3-A940515798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49F3E2B-99FC-4CEA-83C3-A94051579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87A57DC-C2EE-44BA-9F84-E198B75CF0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i-FI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298FAE-6D0B-4E79-A690-1462A90C1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424" y="260648"/>
            <a:ext cx="10369550" cy="1152128"/>
          </a:xfrm>
        </p:spPr>
        <p:txBody>
          <a:bodyPr/>
          <a:lstStyle/>
          <a:p>
            <a:r>
              <a:rPr lang="fi-FI" sz="3200" dirty="0" err="1"/>
              <a:t>Customer</a:t>
            </a:r>
            <a:r>
              <a:rPr lang="fi-FI" sz="3200" dirty="0"/>
              <a:t> data </a:t>
            </a:r>
            <a:r>
              <a:rPr lang="fi-FI" sz="3200" dirty="0" err="1"/>
              <a:t>should</a:t>
            </a:r>
            <a:r>
              <a:rPr lang="fi-FI" sz="3200" dirty="0"/>
              <a:t> </a:t>
            </a:r>
            <a:r>
              <a:rPr lang="fi-FI" sz="3200" dirty="0" err="1"/>
              <a:t>be</a:t>
            </a:r>
            <a:r>
              <a:rPr lang="fi-FI" sz="3200" dirty="0"/>
              <a:t> </a:t>
            </a:r>
            <a:r>
              <a:rPr lang="fi-FI" sz="3200" dirty="0" err="1"/>
              <a:t>divided</a:t>
            </a:r>
            <a:r>
              <a:rPr lang="fi-FI" sz="3200" dirty="0"/>
              <a:t> </a:t>
            </a:r>
            <a:r>
              <a:rPr lang="fi-FI" sz="3200" dirty="0" err="1"/>
              <a:t>according</a:t>
            </a:r>
            <a:r>
              <a:rPr lang="fi-FI" sz="3200" dirty="0"/>
              <a:t> to </a:t>
            </a:r>
            <a:r>
              <a:rPr lang="fi-FI" sz="3200" dirty="0" err="1"/>
              <a:t>core</a:t>
            </a:r>
            <a:r>
              <a:rPr lang="fi-FI" sz="3200" dirty="0"/>
              <a:t> </a:t>
            </a:r>
            <a:r>
              <a:rPr lang="fi-FI" sz="3200" dirty="0" err="1"/>
              <a:t>structures</a:t>
            </a:r>
            <a:endParaRPr lang="fi-FI" sz="32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4D7FD5-8E36-4FBC-BBBC-D182E5A9E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8737" y="6525344"/>
            <a:ext cx="360239" cy="144016"/>
          </a:xfrm>
        </p:spPr>
        <p:txBody>
          <a:bodyPr/>
          <a:lstStyle/>
          <a:p>
            <a:fld id="{D5B008F9-AA2E-4FBA-9C76-30BCD8AD3008}" type="slidenum">
              <a:rPr lang="fi-FI" smtClean="0"/>
              <a:t>9</a:t>
            </a:fld>
            <a:endParaRPr lang="fi-FI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DEFAD97-41EE-41B1-9B74-CD81EAAB4C34}"/>
              </a:ext>
            </a:extLst>
          </p:cNvPr>
          <p:cNvSpPr/>
          <p:nvPr/>
        </p:nvSpPr>
        <p:spPr>
          <a:xfrm>
            <a:off x="4912207" y="1778149"/>
            <a:ext cx="2375244" cy="7736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 err="1"/>
              <a:t>Customer</a:t>
            </a:r>
            <a:r>
              <a:rPr lang="fi-FI" b="1" dirty="0"/>
              <a:t> 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42FF77-AA06-4D1D-987A-EFD0777F7913}"/>
              </a:ext>
            </a:extLst>
          </p:cNvPr>
          <p:cNvSpPr/>
          <p:nvPr/>
        </p:nvSpPr>
        <p:spPr>
          <a:xfrm>
            <a:off x="946778" y="3055845"/>
            <a:ext cx="2375244" cy="7736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/>
              <a:t>Identity and </a:t>
            </a:r>
          </a:p>
          <a:p>
            <a:pPr algn="ctr"/>
            <a:r>
              <a:rPr lang="fi-FI" b="1" dirty="0"/>
              <a:t>Basic inf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82393BD-8E86-4C65-AB2A-8DA732F637CF}"/>
              </a:ext>
            </a:extLst>
          </p:cNvPr>
          <p:cNvSpPr/>
          <p:nvPr/>
        </p:nvSpPr>
        <p:spPr>
          <a:xfrm>
            <a:off x="3579854" y="3055845"/>
            <a:ext cx="2375244" cy="7736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 err="1"/>
              <a:t>Purchase</a:t>
            </a:r>
            <a:r>
              <a:rPr lang="fi-FI" b="1" dirty="0"/>
              <a:t> dat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00BDE3-3B7C-4D4A-A4F0-A57F7666741B}"/>
              </a:ext>
            </a:extLst>
          </p:cNvPr>
          <p:cNvSpPr/>
          <p:nvPr/>
        </p:nvSpPr>
        <p:spPr>
          <a:xfrm>
            <a:off x="8904672" y="3055845"/>
            <a:ext cx="2375244" cy="7736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 err="1"/>
              <a:t>Profile</a:t>
            </a:r>
            <a:r>
              <a:rPr lang="fi-FI" b="1" dirty="0"/>
              <a:t> and </a:t>
            </a:r>
            <a:r>
              <a:rPr lang="fi-FI" b="1" dirty="0" err="1"/>
              <a:t>preference</a:t>
            </a:r>
            <a:r>
              <a:rPr lang="fi-FI" b="1" dirty="0"/>
              <a:t> data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6811807E-6204-4C6D-A611-7AE3A6A3B325}"/>
              </a:ext>
            </a:extLst>
          </p:cNvPr>
          <p:cNvCxnSpPr>
            <a:stCxn id="9" idx="2"/>
            <a:endCxn id="12" idx="0"/>
          </p:cNvCxnSpPr>
          <p:nvPr/>
        </p:nvCxnSpPr>
        <p:spPr>
          <a:xfrm rot="16200000" flipH="1">
            <a:off x="7844033" y="807584"/>
            <a:ext cx="504056" cy="3992465"/>
          </a:xfrm>
          <a:prstGeom prst="bentConnector3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A3FB0EC5-C946-4265-A34F-A52F92355D77}"/>
              </a:ext>
            </a:extLst>
          </p:cNvPr>
          <p:cNvCxnSpPr>
            <a:cxnSpLocks/>
            <a:stCxn id="9" idx="2"/>
            <a:endCxn id="10" idx="0"/>
          </p:cNvCxnSpPr>
          <p:nvPr/>
        </p:nvCxnSpPr>
        <p:spPr>
          <a:xfrm rot="5400000">
            <a:off x="3865087" y="821103"/>
            <a:ext cx="504056" cy="3965429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6C89BBB0-609B-4ED1-B564-779A764231AE}"/>
              </a:ext>
            </a:extLst>
          </p:cNvPr>
          <p:cNvSpPr/>
          <p:nvPr/>
        </p:nvSpPr>
        <p:spPr>
          <a:xfrm>
            <a:off x="672379" y="3928318"/>
            <a:ext cx="2612768" cy="104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i="1" dirty="0" err="1">
                <a:solidFill>
                  <a:schemeClr val="accent1"/>
                </a:solidFill>
              </a:rPr>
              <a:t>Customer</a:t>
            </a:r>
            <a:r>
              <a:rPr lang="fi-FI" sz="1600" i="1" dirty="0">
                <a:solidFill>
                  <a:schemeClr val="accent1"/>
                </a:solidFill>
              </a:rPr>
              <a:t> ID</a:t>
            </a:r>
          </a:p>
          <a:p>
            <a:pPr algn="ctr"/>
            <a:r>
              <a:rPr lang="fi-FI" sz="1600" i="1" dirty="0" err="1">
                <a:solidFill>
                  <a:schemeClr val="accent1"/>
                </a:solidFill>
              </a:rPr>
              <a:t>Name</a:t>
            </a:r>
            <a:endParaRPr lang="fi-FI" sz="1600" i="1" dirty="0">
              <a:solidFill>
                <a:schemeClr val="accent1"/>
              </a:solidFill>
            </a:endParaRPr>
          </a:p>
          <a:p>
            <a:pPr algn="ctr"/>
            <a:r>
              <a:rPr lang="fi-FI" sz="1600" i="1" dirty="0" err="1">
                <a:solidFill>
                  <a:schemeClr val="accent1"/>
                </a:solidFill>
              </a:rPr>
              <a:t>Contact</a:t>
            </a:r>
            <a:r>
              <a:rPr lang="fi-FI" sz="1600" i="1" dirty="0">
                <a:solidFill>
                  <a:schemeClr val="accent1"/>
                </a:solidFill>
              </a:rPr>
              <a:t> </a:t>
            </a:r>
            <a:r>
              <a:rPr lang="fi-FI" sz="1600" i="1" dirty="0" err="1">
                <a:solidFill>
                  <a:schemeClr val="accent1"/>
                </a:solidFill>
              </a:rPr>
              <a:t>address</a:t>
            </a:r>
            <a:endParaRPr lang="fi-FI" sz="1600" i="1" dirty="0">
              <a:solidFill>
                <a:schemeClr val="accent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0B69FA-B592-4B21-BFB8-4543CF507786}"/>
              </a:ext>
            </a:extLst>
          </p:cNvPr>
          <p:cNvSpPr/>
          <p:nvPr/>
        </p:nvSpPr>
        <p:spPr>
          <a:xfrm>
            <a:off x="3192659" y="4005064"/>
            <a:ext cx="3100237" cy="104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i="1" dirty="0" err="1">
                <a:solidFill>
                  <a:schemeClr val="accent1"/>
                </a:solidFill>
              </a:rPr>
              <a:t>All</a:t>
            </a:r>
            <a:r>
              <a:rPr lang="fi-FI" sz="1600" i="1" dirty="0">
                <a:solidFill>
                  <a:schemeClr val="accent1"/>
                </a:solidFill>
              </a:rPr>
              <a:t> </a:t>
            </a:r>
            <a:r>
              <a:rPr lang="fi-FI" sz="1600" i="1" dirty="0" err="1">
                <a:solidFill>
                  <a:schemeClr val="accent1"/>
                </a:solidFill>
              </a:rPr>
              <a:t>shopping</a:t>
            </a:r>
            <a:r>
              <a:rPr lang="fi-FI" sz="1600" i="1" dirty="0">
                <a:solidFill>
                  <a:schemeClr val="accent1"/>
                </a:solidFill>
              </a:rPr>
              <a:t> </a:t>
            </a:r>
            <a:r>
              <a:rPr lang="fi-FI" sz="1600" i="1" dirty="0" err="1">
                <a:solidFill>
                  <a:schemeClr val="accent1"/>
                </a:solidFill>
              </a:rPr>
              <a:t>transactions</a:t>
            </a:r>
            <a:endParaRPr lang="fi-FI" sz="1600" i="1" dirty="0">
              <a:solidFill>
                <a:schemeClr val="accent1"/>
              </a:solidFill>
            </a:endParaRPr>
          </a:p>
          <a:p>
            <a:pPr algn="ctr"/>
            <a:r>
              <a:rPr lang="fi-FI" sz="1600" i="1" dirty="0" err="1">
                <a:solidFill>
                  <a:schemeClr val="accent1"/>
                </a:solidFill>
              </a:rPr>
              <a:t>Receipt</a:t>
            </a:r>
            <a:r>
              <a:rPr lang="fi-FI" sz="1600" i="1" dirty="0">
                <a:solidFill>
                  <a:schemeClr val="accent1"/>
                </a:solidFill>
              </a:rPr>
              <a:t> </a:t>
            </a:r>
            <a:r>
              <a:rPr lang="fi-FI" sz="1600" i="1" dirty="0" err="1">
                <a:solidFill>
                  <a:schemeClr val="accent1"/>
                </a:solidFill>
              </a:rPr>
              <a:t>details</a:t>
            </a:r>
            <a:endParaRPr lang="fi-FI" sz="1600" i="1" dirty="0">
              <a:solidFill>
                <a:schemeClr val="accent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17F724F-2367-4677-B61E-DA2793E677AB}"/>
              </a:ext>
            </a:extLst>
          </p:cNvPr>
          <p:cNvSpPr/>
          <p:nvPr/>
        </p:nvSpPr>
        <p:spPr>
          <a:xfrm>
            <a:off x="8737275" y="4000326"/>
            <a:ext cx="2612768" cy="1219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i="1" dirty="0">
                <a:solidFill>
                  <a:schemeClr val="accent1"/>
                </a:solidFill>
              </a:rPr>
              <a:t>I am </a:t>
            </a:r>
            <a:r>
              <a:rPr lang="fi-FI" sz="1600" i="1" dirty="0" err="1">
                <a:solidFill>
                  <a:schemeClr val="accent1"/>
                </a:solidFill>
              </a:rPr>
              <a:t>vegetarian</a:t>
            </a:r>
            <a:endParaRPr lang="fi-FI" sz="1600" i="1" dirty="0">
              <a:solidFill>
                <a:schemeClr val="accent1"/>
              </a:solidFill>
            </a:endParaRP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E49A94D-C806-4878-8ECF-53FEC951E0BD}"/>
              </a:ext>
            </a:extLst>
          </p:cNvPr>
          <p:cNvCxnSpPr>
            <a:cxnSpLocks/>
            <a:stCxn id="23" idx="2"/>
            <a:endCxn id="36" idx="1"/>
          </p:cNvCxnSpPr>
          <p:nvPr/>
        </p:nvCxnSpPr>
        <p:spPr>
          <a:xfrm rot="16200000" flipH="1">
            <a:off x="2261963" y="4689117"/>
            <a:ext cx="754315" cy="1320715"/>
          </a:xfrm>
          <a:prstGeom prst="bentConnector2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B3DC6D62-4D48-4808-AA83-1636C3041052}"/>
              </a:ext>
            </a:extLst>
          </p:cNvPr>
          <p:cNvCxnSpPr>
            <a:cxnSpLocks/>
            <a:stCxn id="25" idx="2"/>
            <a:endCxn id="36" idx="3"/>
          </p:cNvCxnSpPr>
          <p:nvPr/>
        </p:nvCxnSpPr>
        <p:spPr>
          <a:xfrm rot="5400000">
            <a:off x="9218466" y="4901439"/>
            <a:ext cx="506909" cy="1143478"/>
          </a:xfrm>
          <a:prstGeom prst="bentConnector2">
            <a:avLst/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F90ED5ED-FAD6-4289-A3D5-2163BEEBCFA7}"/>
              </a:ext>
            </a:extLst>
          </p:cNvPr>
          <p:cNvSpPr/>
          <p:nvPr/>
        </p:nvSpPr>
        <p:spPr>
          <a:xfrm>
            <a:off x="3299478" y="5431977"/>
            <a:ext cx="5600703" cy="589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 err="1">
                <a:solidFill>
                  <a:schemeClr val="accent2"/>
                </a:solidFill>
              </a:rPr>
              <a:t>Governacne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models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should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not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be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generic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only</a:t>
            </a:r>
            <a:r>
              <a:rPr lang="fi-FI" b="1" dirty="0">
                <a:solidFill>
                  <a:schemeClr val="accent2"/>
                </a:solidFill>
              </a:rPr>
              <a:t>, </a:t>
            </a:r>
            <a:r>
              <a:rPr lang="fi-FI" b="1" dirty="0" err="1">
                <a:solidFill>
                  <a:schemeClr val="accent2"/>
                </a:solidFill>
              </a:rPr>
              <a:t>but</a:t>
            </a:r>
            <a:r>
              <a:rPr lang="fi-FI" b="1" dirty="0">
                <a:solidFill>
                  <a:schemeClr val="accent2"/>
                </a:solidFill>
              </a:rPr>
              <a:t> </a:t>
            </a:r>
            <a:r>
              <a:rPr lang="fi-FI" b="1" dirty="0" err="1">
                <a:solidFill>
                  <a:schemeClr val="accent2"/>
                </a:solidFill>
              </a:rPr>
              <a:t>focus</a:t>
            </a:r>
            <a:r>
              <a:rPr lang="fi-FI" b="1" dirty="0">
                <a:solidFill>
                  <a:schemeClr val="accent2"/>
                </a:solidFill>
              </a:rPr>
              <a:t> on </a:t>
            </a:r>
            <a:r>
              <a:rPr lang="fi-FI" b="1" dirty="0" err="1">
                <a:solidFill>
                  <a:schemeClr val="accent2"/>
                </a:solidFill>
              </a:rPr>
              <a:t>specific</a:t>
            </a:r>
            <a:r>
              <a:rPr lang="fi-FI" b="1" dirty="0">
                <a:solidFill>
                  <a:schemeClr val="accent2"/>
                </a:solidFill>
              </a:rPr>
              <a:t> data </a:t>
            </a:r>
            <a:r>
              <a:rPr lang="fi-FI" b="1" dirty="0" err="1">
                <a:solidFill>
                  <a:schemeClr val="accent2"/>
                </a:solidFill>
              </a:rPr>
              <a:t>charasteristics</a:t>
            </a:r>
            <a:endParaRPr lang="fi-FI" b="1" dirty="0">
              <a:solidFill>
                <a:schemeClr val="accent2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F1EA5C0-F754-4151-8905-ADA8EF436025}"/>
              </a:ext>
            </a:extLst>
          </p:cNvPr>
          <p:cNvSpPr/>
          <p:nvPr/>
        </p:nvSpPr>
        <p:spPr>
          <a:xfrm>
            <a:off x="6244150" y="3055845"/>
            <a:ext cx="2375244" cy="7736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b="1" dirty="0" err="1"/>
              <a:t>Event</a:t>
            </a:r>
            <a:r>
              <a:rPr lang="fi-FI" b="1" dirty="0"/>
              <a:t> data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1F4C936-42B7-41EA-8AAB-7D1FF18D8710}"/>
              </a:ext>
            </a:extLst>
          </p:cNvPr>
          <p:cNvSpPr/>
          <p:nvPr/>
        </p:nvSpPr>
        <p:spPr>
          <a:xfrm>
            <a:off x="6216995" y="3928318"/>
            <a:ext cx="2520280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i="1" dirty="0">
                <a:solidFill>
                  <a:schemeClr val="accent1"/>
                </a:solidFill>
              </a:rPr>
              <a:t>Web </a:t>
            </a:r>
            <a:r>
              <a:rPr lang="fi-FI" sz="1600" i="1" dirty="0" err="1">
                <a:solidFill>
                  <a:schemeClr val="accent1"/>
                </a:solidFill>
              </a:rPr>
              <a:t>site</a:t>
            </a:r>
            <a:r>
              <a:rPr lang="fi-FI" sz="1600" i="1" dirty="0">
                <a:solidFill>
                  <a:schemeClr val="accent1"/>
                </a:solidFill>
              </a:rPr>
              <a:t> </a:t>
            </a:r>
            <a:r>
              <a:rPr lang="fi-FI" sz="1600" i="1" dirty="0" err="1">
                <a:solidFill>
                  <a:schemeClr val="accent1"/>
                </a:solidFill>
              </a:rPr>
              <a:t>visits</a:t>
            </a:r>
            <a:endParaRPr lang="fi-FI" sz="1600" i="1" dirty="0">
              <a:solidFill>
                <a:schemeClr val="accent1"/>
              </a:solidFill>
            </a:endParaRPr>
          </a:p>
          <a:p>
            <a:pPr algn="ctr"/>
            <a:r>
              <a:rPr lang="fi-FI" sz="1600" i="1" dirty="0">
                <a:solidFill>
                  <a:schemeClr val="accent1"/>
                </a:solidFill>
              </a:rPr>
              <a:t>Service </a:t>
            </a:r>
            <a:r>
              <a:rPr lang="fi-FI" sz="1600" i="1" dirty="0" err="1">
                <a:solidFill>
                  <a:schemeClr val="accent1"/>
                </a:solidFill>
              </a:rPr>
              <a:t>logs</a:t>
            </a:r>
            <a:endParaRPr lang="fi-FI" sz="1600" i="1" dirty="0">
              <a:solidFill>
                <a:schemeClr val="accent1"/>
              </a:solidFill>
            </a:endParaRPr>
          </a:p>
        </p:txBody>
      </p: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AECC4F4F-8BC2-4B5E-B79B-B95E7CB9BF0F}"/>
              </a:ext>
            </a:extLst>
          </p:cNvPr>
          <p:cNvCxnSpPr>
            <a:cxnSpLocks/>
            <a:stCxn id="9" idx="2"/>
            <a:endCxn id="11" idx="0"/>
          </p:cNvCxnSpPr>
          <p:nvPr/>
        </p:nvCxnSpPr>
        <p:spPr>
          <a:xfrm rot="5400000">
            <a:off x="5181625" y="2137641"/>
            <a:ext cx="504056" cy="1332353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20072ECA-8F3E-4E14-A2BF-39E5A7970263}"/>
              </a:ext>
            </a:extLst>
          </p:cNvPr>
          <p:cNvCxnSpPr>
            <a:cxnSpLocks/>
            <a:stCxn id="9" idx="2"/>
            <a:endCxn id="44" idx="0"/>
          </p:cNvCxnSpPr>
          <p:nvPr/>
        </p:nvCxnSpPr>
        <p:spPr>
          <a:xfrm rot="16200000" flipH="1">
            <a:off x="6513772" y="2137845"/>
            <a:ext cx="504056" cy="1331943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17733407-851F-4D53-BE95-02F47913A116}"/>
              </a:ext>
            </a:extLst>
          </p:cNvPr>
          <p:cNvCxnSpPr>
            <a:cxnSpLocks/>
            <a:stCxn id="24" idx="2"/>
            <a:endCxn id="36" idx="0"/>
          </p:cNvCxnSpPr>
          <p:nvPr/>
        </p:nvCxnSpPr>
        <p:spPr>
          <a:xfrm rot="16200000" flipH="1">
            <a:off x="5229848" y="4561994"/>
            <a:ext cx="382913" cy="1357052"/>
          </a:xfrm>
          <a:prstGeom prst="bentConnector3">
            <a:avLst>
              <a:gd name="adj1" fmla="val 50000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B7217336-4160-4BB1-B8E7-17EC2979E510}"/>
              </a:ext>
            </a:extLst>
          </p:cNvPr>
          <p:cNvCxnSpPr>
            <a:cxnSpLocks/>
            <a:stCxn id="45" idx="2"/>
            <a:endCxn id="36" idx="0"/>
          </p:cNvCxnSpPr>
          <p:nvPr/>
        </p:nvCxnSpPr>
        <p:spPr>
          <a:xfrm rot="5400000">
            <a:off x="6612718" y="4567559"/>
            <a:ext cx="351531" cy="1377305"/>
          </a:xfrm>
          <a:prstGeom prst="bentConnector3">
            <a:avLst>
              <a:gd name="adj1" fmla="val 45355"/>
            </a:avLst>
          </a:prstGeom>
          <a:ln w="63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8923E8-F59E-42A0-BA05-569FDE4BE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7083E-AAB2-48D6-BFEC-C17F1E81EBC0}" type="datetime1">
              <a:rPr lang="fi-FI" smtClean="0"/>
              <a:t>2.4.201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2742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MrjWWTTJyauJ3g40bBWg"/>
</p:tagLst>
</file>

<file path=ppt/theme/theme1.xml><?xml version="1.0" encoding="utf-8"?>
<a:theme xmlns:a="http://schemas.openxmlformats.org/drawingml/2006/main" name="SOK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10.xml><?xml version="1.0" encoding="utf-8"?>
<a:theme xmlns:a="http://schemas.openxmlformats.org/drawingml/2006/main" name="SOK - käyttötavar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11.xml><?xml version="1.0" encoding="utf-8"?>
<a:theme xmlns:a="http://schemas.openxmlformats.org/drawingml/2006/main" name="SOK - päivittäistavar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12.xml><?xml version="1.0" encoding="utf-8"?>
<a:theme xmlns:a="http://schemas.openxmlformats.org/drawingml/2006/main" name="Office Theme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OK - rahoituspalvelut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3.xml><?xml version="1.0" encoding="utf-8"?>
<a:theme xmlns:a="http://schemas.openxmlformats.org/drawingml/2006/main" name="SOK - hotelliliiketoimint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4.xml><?xml version="1.0" encoding="utf-8"?>
<a:theme xmlns:a="http://schemas.openxmlformats.org/drawingml/2006/main" name="SOK - erikoisliike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5.xml><?xml version="1.0" encoding="utf-8"?>
<a:theme xmlns:a="http://schemas.openxmlformats.org/drawingml/2006/main" name="SOK - ravitsemis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6.xml><?xml version="1.0" encoding="utf-8"?>
<a:theme xmlns:a="http://schemas.openxmlformats.org/drawingml/2006/main" name="SOK - polttoneste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7.xml><?xml version="1.0" encoding="utf-8"?>
<a:theme xmlns:a="http://schemas.openxmlformats.org/drawingml/2006/main" name="SOK - marketkaupp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8.xml><?xml version="1.0" encoding="utf-8"?>
<a:theme xmlns:a="http://schemas.openxmlformats.org/drawingml/2006/main" name="SOK - tuulivoima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ppt/theme/theme9.xml><?xml version="1.0" encoding="utf-8"?>
<a:theme xmlns:a="http://schemas.openxmlformats.org/drawingml/2006/main" name="SOK - s-mobiili">
  <a:themeElements>
    <a:clrScheme name="SOK group">
      <a:dk1>
        <a:sysClr val="windowText" lastClr="000000"/>
      </a:dk1>
      <a:lt1>
        <a:sysClr val="window" lastClr="FFFFFF"/>
      </a:lt1>
      <a:dk2>
        <a:srgbClr val="006633"/>
      </a:dk2>
      <a:lt2>
        <a:srgbClr val="E8EAEC"/>
      </a:lt2>
      <a:accent1>
        <a:srgbClr val="0B4499"/>
      </a:accent1>
      <a:accent2>
        <a:srgbClr val="6BBD46"/>
      </a:accent2>
      <a:accent3>
        <a:srgbClr val="A5A5A5"/>
      </a:accent3>
      <a:accent4>
        <a:srgbClr val="84D0F5"/>
      </a:accent4>
      <a:accent5>
        <a:srgbClr val="FCCC10"/>
      </a:accent5>
      <a:accent6>
        <a:srgbClr val="F39200"/>
      </a:accent6>
      <a:hlink>
        <a:srgbClr val="0B4499"/>
      </a:hlink>
      <a:folHlink>
        <a:srgbClr val="6BBD46"/>
      </a:folHlink>
    </a:clrScheme>
    <a:fontScheme name="S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72000" tIns="36000" rIns="72000" bIns="36000" rtlCol="0">
        <a:spAutoFit/>
      </a:bodyPr>
      <a:lstStyle>
        <a:defPPr>
          <a:defRPr sz="1600" dirty="0" smtClean="0">
            <a:solidFill>
              <a:schemeClr val="accent3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9DE5375-E56C-4CF9-88D5-7C1D13D103FC}" vid="{F7C38664-D49B-4851-887E-1026FBF3C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SOK</Template>
  <TotalTime>82912</TotalTime>
  <Words>1118</Words>
  <Application>Microsoft Office PowerPoint</Application>
  <PresentationFormat>Widescreen</PresentationFormat>
  <Paragraphs>264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3" baseType="lpstr">
      <vt:lpstr>Arial</vt:lpstr>
      <vt:lpstr>S Bonus Display Bold</vt:lpstr>
      <vt:lpstr>Wingdings</vt:lpstr>
      <vt:lpstr>SOK</vt:lpstr>
      <vt:lpstr>SOK - rahoituspalvelut</vt:lpstr>
      <vt:lpstr>SOK - hotelliliiketoiminta</vt:lpstr>
      <vt:lpstr>SOK - erikoisliikekauppa</vt:lpstr>
      <vt:lpstr>SOK - ravitsemiskauppa</vt:lpstr>
      <vt:lpstr>SOK - polttonestekauppa</vt:lpstr>
      <vt:lpstr>SOK - marketkauppa</vt:lpstr>
      <vt:lpstr>SOK - tuulivoima</vt:lpstr>
      <vt:lpstr>SOK - s-mobiili</vt:lpstr>
      <vt:lpstr>SOK - käyttötavara</vt:lpstr>
      <vt:lpstr>SOK - päivittäistavara</vt:lpstr>
      <vt:lpstr>think-cell Slide</vt:lpstr>
      <vt:lpstr>S-group personal data management</vt:lpstr>
      <vt:lpstr>About S-group</vt:lpstr>
      <vt:lpstr>S-group in a Nutshell</vt:lpstr>
      <vt:lpstr>S-group is a business ecosystem Our businesses and partners are market leaders or on top in their businesses areas</vt:lpstr>
      <vt:lpstr>Co-op membership</vt:lpstr>
      <vt:lpstr>S Group’s key figures in 2017</vt:lpstr>
      <vt:lpstr>What kind of use cases drive personal data management and identity and access management? </vt:lpstr>
      <vt:lpstr>What is personal data platform</vt:lpstr>
      <vt:lpstr>Customer data should be divided according to core structures</vt:lpstr>
      <vt:lpstr>POS data anatomy</vt:lpstr>
      <vt:lpstr>Bonus is money</vt:lpstr>
      <vt:lpstr>Examples what we do</vt:lpstr>
      <vt:lpstr>Example for app to web transition</vt:lpstr>
      <vt:lpstr>An example of upgrading level of assurance during service use</vt:lpstr>
      <vt:lpstr>examples from the s-group's web pa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core challenges </vt:lpstr>
      <vt:lpstr>Managing and implementing levels of assurance</vt:lpstr>
      <vt:lpstr>Integration of bank and retail authentication and identities</vt:lpstr>
      <vt:lpstr>Household identity (HIAM)</vt:lpstr>
      <vt:lpstr>One ID – multiple business uni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-group customer identity and access management (CIAM) revision</dc:title>
  <dc:creator>Kuikkaniemi Kai, SOK MEDIA</dc:creator>
  <cp:lastModifiedBy>Kuikkaniemi Kai, SOK MEDIA</cp:lastModifiedBy>
  <cp:revision>50</cp:revision>
  <dcterms:created xsi:type="dcterms:W3CDTF">2018-09-18T10:22:36Z</dcterms:created>
  <dcterms:modified xsi:type="dcterms:W3CDTF">2019-04-09T07:19:20Z</dcterms:modified>
</cp:coreProperties>
</file>